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  <p:sldMasterId id="2147483682" r:id="rId3"/>
  </p:sldMasterIdLst>
  <p:notesMasterIdLst>
    <p:notesMasterId r:id="rId18"/>
  </p:notesMasterIdLst>
  <p:sldIdLst>
    <p:sldId id="325" r:id="rId4"/>
    <p:sldId id="1052" r:id="rId5"/>
    <p:sldId id="976" r:id="rId6"/>
    <p:sldId id="1053" r:id="rId7"/>
    <p:sldId id="1034" r:id="rId8"/>
    <p:sldId id="1037" r:id="rId9"/>
    <p:sldId id="261" r:id="rId10"/>
    <p:sldId id="1046" r:id="rId11"/>
    <p:sldId id="1047" r:id="rId12"/>
    <p:sldId id="1033" r:id="rId13"/>
    <p:sldId id="1029" r:id="rId14"/>
    <p:sldId id="1050" r:id="rId15"/>
    <p:sldId id="1051" r:id="rId16"/>
    <p:sldId id="1054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D078EB9-2D5D-49B5-A2FA-A44E5E0DF8F9}">
          <p14:sldIdLst>
            <p14:sldId id="325"/>
            <p14:sldId id="1052"/>
            <p14:sldId id="976"/>
            <p14:sldId id="1053"/>
            <p14:sldId id="1034"/>
            <p14:sldId id="1037"/>
            <p14:sldId id="261"/>
            <p14:sldId id="1046"/>
            <p14:sldId id="1047"/>
            <p14:sldId id="1033"/>
            <p14:sldId id="1029"/>
            <p14:sldId id="1050"/>
            <p14:sldId id="1051"/>
            <p14:sldId id="1054"/>
          </p14:sldIdLst>
        </p14:section>
        <p14:section name="Untitled Section" id="{D6FDB9F7-F996-4EBB-BB74-ADECB5F3D563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6" autoAdjust="0"/>
    <p:restoredTop sz="94660"/>
  </p:normalViewPr>
  <p:slideViewPr>
    <p:cSldViewPr snapToGrid="0">
      <p:cViewPr varScale="1">
        <p:scale>
          <a:sx n="102" d="100"/>
          <a:sy n="102" d="100"/>
        </p:scale>
        <p:origin x="138" y="2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prasek\Documents\WEST%20Files%20-%20Sarah\COVID-19%20Sewage%20Surveillance\Campus%20Re-Entry_COVID-19%20wastewater%20epi\Campus%20Results%202020\Other%20Data-Reports\Campus%20WBE_10-20-20%20data%20overview_V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bg2"/>
                </a:solidFill>
              </a:rPr>
              <a:t>Clinical Cases in Monitored Dorm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34925" cap="rnd">
              <a:solidFill>
                <a:schemeClr val="accent1"/>
              </a:solidFill>
              <a:round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c:spPr>
          <c:marker>
            <c:symbol val="none"/>
          </c:marker>
          <c:cat>
            <c:numRef>
              <c:f>'Clinical cases in WBE dorms'!$A$3:$A$60</c:f>
              <c:numCache>
                <c:formatCode>m/d/yy;@</c:formatCode>
                <c:ptCount val="58"/>
                <c:pt idx="0">
                  <c:v>44067</c:v>
                </c:pt>
                <c:pt idx="1">
                  <c:v>44068</c:v>
                </c:pt>
                <c:pt idx="2">
                  <c:v>44069</c:v>
                </c:pt>
                <c:pt idx="3">
                  <c:v>44070</c:v>
                </c:pt>
                <c:pt idx="4">
                  <c:v>44071</c:v>
                </c:pt>
                <c:pt idx="5">
                  <c:v>44072</c:v>
                </c:pt>
                <c:pt idx="6">
                  <c:v>44073</c:v>
                </c:pt>
                <c:pt idx="7">
                  <c:v>44074</c:v>
                </c:pt>
                <c:pt idx="8">
                  <c:v>44075</c:v>
                </c:pt>
                <c:pt idx="9">
                  <c:v>44076</c:v>
                </c:pt>
                <c:pt idx="10">
                  <c:v>44077</c:v>
                </c:pt>
                <c:pt idx="11">
                  <c:v>44078</c:v>
                </c:pt>
                <c:pt idx="12">
                  <c:v>44079</c:v>
                </c:pt>
                <c:pt idx="13">
                  <c:v>44080</c:v>
                </c:pt>
                <c:pt idx="14">
                  <c:v>44081</c:v>
                </c:pt>
                <c:pt idx="15">
                  <c:v>44082</c:v>
                </c:pt>
                <c:pt idx="16">
                  <c:v>44083</c:v>
                </c:pt>
                <c:pt idx="17">
                  <c:v>44084</c:v>
                </c:pt>
                <c:pt idx="18">
                  <c:v>44085</c:v>
                </c:pt>
                <c:pt idx="19">
                  <c:v>44086</c:v>
                </c:pt>
                <c:pt idx="20">
                  <c:v>44087</c:v>
                </c:pt>
                <c:pt idx="21">
                  <c:v>44088</c:v>
                </c:pt>
                <c:pt idx="22">
                  <c:v>44089</c:v>
                </c:pt>
                <c:pt idx="23">
                  <c:v>44090</c:v>
                </c:pt>
                <c:pt idx="24">
                  <c:v>44091</c:v>
                </c:pt>
                <c:pt idx="25">
                  <c:v>44092</c:v>
                </c:pt>
                <c:pt idx="26">
                  <c:v>44093</c:v>
                </c:pt>
                <c:pt idx="27">
                  <c:v>44094</c:v>
                </c:pt>
                <c:pt idx="28">
                  <c:v>44095</c:v>
                </c:pt>
                <c:pt idx="29">
                  <c:v>44096</c:v>
                </c:pt>
                <c:pt idx="30">
                  <c:v>44097</c:v>
                </c:pt>
                <c:pt idx="31">
                  <c:v>44098</c:v>
                </c:pt>
                <c:pt idx="32">
                  <c:v>44099</c:v>
                </c:pt>
                <c:pt idx="33">
                  <c:v>44100</c:v>
                </c:pt>
                <c:pt idx="34">
                  <c:v>44101</c:v>
                </c:pt>
                <c:pt idx="35">
                  <c:v>44102</c:v>
                </c:pt>
                <c:pt idx="36">
                  <c:v>44103</c:v>
                </c:pt>
                <c:pt idx="37">
                  <c:v>44104</c:v>
                </c:pt>
                <c:pt idx="38">
                  <c:v>44105</c:v>
                </c:pt>
                <c:pt idx="39">
                  <c:v>44106</c:v>
                </c:pt>
                <c:pt idx="40">
                  <c:v>44107</c:v>
                </c:pt>
                <c:pt idx="41">
                  <c:v>44108</c:v>
                </c:pt>
                <c:pt idx="42">
                  <c:v>44109</c:v>
                </c:pt>
                <c:pt idx="43">
                  <c:v>44110</c:v>
                </c:pt>
                <c:pt idx="44">
                  <c:v>44111</c:v>
                </c:pt>
                <c:pt idx="45">
                  <c:v>44112</c:v>
                </c:pt>
                <c:pt idx="46">
                  <c:v>44113</c:v>
                </c:pt>
                <c:pt idx="47">
                  <c:v>44114</c:v>
                </c:pt>
                <c:pt idx="48">
                  <c:v>44115</c:v>
                </c:pt>
                <c:pt idx="49">
                  <c:v>44116</c:v>
                </c:pt>
                <c:pt idx="50">
                  <c:v>44117</c:v>
                </c:pt>
                <c:pt idx="51">
                  <c:v>44118</c:v>
                </c:pt>
                <c:pt idx="52">
                  <c:v>44119</c:v>
                </c:pt>
                <c:pt idx="53">
                  <c:v>44120</c:v>
                </c:pt>
                <c:pt idx="54">
                  <c:v>44121</c:v>
                </c:pt>
                <c:pt idx="55">
                  <c:v>44122</c:v>
                </c:pt>
                <c:pt idx="56">
                  <c:v>44123</c:v>
                </c:pt>
                <c:pt idx="57">
                  <c:v>44124</c:v>
                </c:pt>
              </c:numCache>
            </c:numRef>
          </c:cat>
          <c:val>
            <c:numRef>
              <c:f>'Clinical cases in WBE dorms'!$B$3:$B$60</c:f>
              <c:numCache>
                <c:formatCode>General</c:formatCode>
                <c:ptCount val="58"/>
                <c:pt idx="0">
                  <c:v>0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  <c:pt idx="7">
                  <c:v>0</c:v>
                </c:pt>
                <c:pt idx="8">
                  <c:v>18</c:v>
                </c:pt>
                <c:pt idx="9">
                  <c:v>20</c:v>
                </c:pt>
                <c:pt idx="10">
                  <c:v>11</c:v>
                </c:pt>
                <c:pt idx="11">
                  <c:v>2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20</c:v>
                </c:pt>
                <c:pt idx="16">
                  <c:v>14</c:v>
                </c:pt>
                <c:pt idx="17">
                  <c:v>36</c:v>
                </c:pt>
                <c:pt idx="18">
                  <c:v>32</c:v>
                </c:pt>
                <c:pt idx="19">
                  <c:v>0</c:v>
                </c:pt>
                <c:pt idx="20">
                  <c:v>0</c:v>
                </c:pt>
                <c:pt idx="21">
                  <c:v>120</c:v>
                </c:pt>
                <c:pt idx="22">
                  <c:v>48</c:v>
                </c:pt>
                <c:pt idx="23">
                  <c:v>48</c:v>
                </c:pt>
                <c:pt idx="24">
                  <c:v>25</c:v>
                </c:pt>
                <c:pt idx="25">
                  <c:v>21</c:v>
                </c:pt>
                <c:pt idx="26">
                  <c:v>0</c:v>
                </c:pt>
                <c:pt idx="27">
                  <c:v>0</c:v>
                </c:pt>
                <c:pt idx="28">
                  <c:v>24</c:v>
                </c:pt>
                <c:pt idx="29">
                  <c:v>12</c:v>
                </c:pt>
                <c:pt idx="30">
                  <c:v>10</c:v>
                </c:pt>
                <c:pt idx="31">
                  <c:v>12</c:v>
                </c:pt>
                <c:pt idx="32">
                  <c:v>14</c:v>
                </c:pt>
                <c:pt idx="33">
                  <c:v>0</c:v>
                </c:pt>
                <c:pt idx="34">
                  <c:v>0</c:v>
                </c:pt>
                <c:pt idx="35">
                  <c:v>7</c:v>
                </c:pt>
                <c:pt idx="36">
                  <c:v>3</c:v>
                </c:pt>
                <c:pt idx="37">
                  <c:v>12</c:v>
                </c:pt>
                <c:pt idx="38">
                  <c:v>3</c:v>
                </c:pt>
                <c:pt idx="39">
                  <c:v>1</c:v>
                </c:pt>
                <c:pt idx="40">
                  <c:v>0</c:v>
                </c:pt>
                <c:pt idx="41">
                  <c:v>0</c:v>
                </c:pt>
                <c:pt idx="42">
                  <c:v>1</c:v>
                </c:pt>
                <c:pt idx="43">
                  <c:v>0</c:v>
                </c:pt>
                <c:pt idx="44">
                  <c:v>0</c:v>
                </c:pt>
                <c:pt idx="45">
                  <c:v>2</c:v>
                </c:pt>
                <c:pt idx="46">
                  <c:v>0</c:v>
                </c:pt>
                <c:pt idx="47">
                  <c:v>1</c:v>
                </c:pt>
                <c:pt idx="48">
                  <c:v>0</c:v>
                </c:pt>
                <c:pt idx="49">
                  <c:v>4</c:v>
                </c:pt>
                <c:pt idx="50">
                  <c:v>0</c:v>
                </c:pt>
                <c:pt idx="51">
                  <c:v>1</c:v>
                </c:pt>
                <c:pt idx="52">
                  <c:v>1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2C-4558-BF98-8CD1062AC2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4045647"/>
        <c:axId val="1053935471"/>
      </c:lineChart>
      <c:dateAx>
        <c:axId val="1024045647"/>
        <c:scaling>
          <c:orientation val="minMax"/>
        </c:scaling>
        <c:delete val="0"/>
        <c:axPos val="b"/>
        <c:numFmt formatCode="m/d/yy;@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53935471"/>
        <c:crosses val="autoZero"/>
        <c:auto val="1"/>
        <c:lblOffset val="100"/>
        <c:baseTimeUnit val="days"/>
      </c:dateAx>
      <c:valAx>
        <c:axId val="10539354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40456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34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49F7CC-361C-45B7-BA71-A8FB6AA73AD4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A5E3A5-B504-4CD3-B614-B09470200CD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122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542098"/>
            <a:ext cx="12192000" cy="3315903"/>
          </a:xfrm>
          <a:prstGeom prst="rect">
            <a:avLst/>
          </a:prstGeom>
          <a:gradFill flip="none" rotWithShape="1">
            <a:gsLst>
              <a:gs pos="0">
                <a:srgbClr val="0E2B3B"/>
              </a:gs>
              <a:gs pos="51000">
                <a:srgbClr val="0E2B3B">
                  <a:alpha val="73000"/>
                </a:srgbClr>
              </a:gs>
              <a:gs pos="100000">
                <a:srgbClr val="0E2B3B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1692275"/>
            <a:ext cx="12192000" cy="1849438"/>
          </a:xfrm>
          <a:prstGeom prst="rect">
            <a:avLst/>
          </a:prstGeom>
          <a:solidFill>
            <a:srgbClr val="0E2B3B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40002" name="Rectangle 66"/>
          <p:cNvSpPr>
            <a:spLocks noGrp="1" noChangeArrowheads="1"/>
          </p:cNvSpPr>
          <p:nvPr>
            <p:ph type="ctrTitle" sz="quarter"/>
          </p:nvPr>
        </p:nvSpPr>
        <p:spPr>
          <a:xfrm>
            <a:off x="914400" y="1692276"/>
            <a:ext cx="10363200" cy="1736725"/>
          </a:xfrm>
        </p:spPr>
        <p:txBody>
          <a:bodyPr anchor="b"/>
          <a:lstStyle>
            <a:lvl1pPr>
              <a:lnSpc>
                <a:spcPct val="90000"/>
              </a:lnSpc>
              <a:defRPr sz="5400">
                <a:solidFill>
                  <a:schemeClr val="tx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003" name="Rectangle 6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28800" y="4457700"/>
            <a:ext cx="9444568" cy="1752600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  <a:defRPr>
                <a:solidFill>
                  <a:schemeClr val="tx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Rectangle 68"/>
          <p:cNvSpPr>
            <a:spLocks noGrp="1" noChangeArrowheads="1"/>
          </p:cNvSpPr>
          <p:nvPr>
            <p:ph type="dt" sz="quarter" idx="10"/>
          </p:nvPr>
        </p:nvSpPr>
        <p:spPr>
          <a:xfrm>
            <a:off x="609600" y="6248400"/>
            <a:ext cx="2844800" cy="457200"/>
          </a:xfrm>
        </p:spPr>
        <p:txBody>
          <a:bodyPr/>
          <a:lstStyle>
            <a:lvl1pPr>
              <a:defRPr dirty="0">
                <a:solidFill>
                  <a:prstClr val="white">
                    <a:lumMod val="65000"/>
                  </a:prst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69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</p:spPr>
        <p:txBody>
          <a:bodyPr/>
          <a:lstStyle>
            <a:lvl1pPr>
              <a:defRPr dirty="0">
                <a:solidFill>
                  <a:prstClr val="white">
                    <a:lumMod val="65000"/>
                  </a:prstClr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7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844800" cy="457200"/>
          </a:xfrm>
        </p:spPr>
        <p:txBody>
          <a:bodyPr/>
          <a:lstStyle>
            <a:lvl1pPr>
              <a:defRPr>
                <a:solidFill>
                  <a:prstClr val="white">
                    <a:lumMod val="65000"/>
                  </a:prstClr>
                </a:solidFill>
              </a:defRPr>
            </a:lvl1pPr>
          </a:lstStyle>
          <a:p>
            <a:pPr>
              <a:defRPr/>
            </a:pPr>
            <a:fld id="{EB73DCAA-3602-4B78-8DDE-B2AFAFEA6ED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38596915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00D17-B942-4050-AE5E-A7586EB76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44550B-7BC2-4B7C-BD77-ECCF3DA991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2FF854-A327-4D2E-9B01-09AC9D71BC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94FFE4-83E0-4FE7-998B-580C72AF9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961138-8D3E-407C-BFCD-998BE917D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0989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40A774-1A02-4D96-B5F9-B0BB6F7C8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874D0A-11AA-42C3-91B6-79ABCF8914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7123D7-7E48-4D69-A7E1-99B37A11AF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C49525-461E-4673-8890-937530AF2B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D7DE8A-8B0F-4DB3-80D3-0D971F889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817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1D238C-8340-4B2D-8476-7703DE632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1B9C48-7402-4181-B17F-979A1748DD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0FE2C2-B8BC-4008-B3F3-7ABFAA5E3E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464448-3F2D-4127-9B14-4FBA4D2CE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14E168-E820-40C8-BF8A-9A31AEF4E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93818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E3597C-2BC9-4D3A-987D-57C9D4F2BB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B0F244-6E5B-460A-99E8-7E858EE89F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D1C17-A1B4-4100-9553-864AFFAB16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2D4284-EB0F-432E-AE4F-C8690A71E2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F5AD64-68CE-442B-B623-5BC5F7A80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6B7DB7F-5A9A-41BF-A0A8-F27CA38824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07370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7E9CC3-E34B-4981-8AD3-ECDBD063C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29E3C0B-1EC8-4D6B-A5F5-324100531A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4912784-0F93-4FB1-A6DF-4CD8162555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44A999F-B906-4F40-9020-9C4CBA7347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4B4299-AB9B-4D57-A29C-DAE0B39CC7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2E32CFC-A13E-4807-A981-894B6093CE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A65128-F37F-4C34-BA2B-88FA17032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446E42C-60E9-4C08-AA77-750E0BA814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1884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D715FD-82A7-4BC2-8064-530BBAA11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D08491-A90D-4BFA-8863-099A85953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B39E1A-1072-48B8-B8C8-5FBA3EBE17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FDC571-C9F7-43B5-9DB5-BDA35413D0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00214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6A384D5-6595-4D01-B770-CA8970A239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9BF2-2D43-41E1-96EE-0D181E4282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A24CE-CFE6-4BEF-B1A5-ED0ED478D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7285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DC3B6D-6C2A-40AD-B63B-ADCE9F6F6B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000370-9AF9-48F9-9232-D962CFC20F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8B39D5-2981-4D05-BA74-FFA72A9D96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749437-1CAE-471C-BF9D-AE14D67406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3AF784-EC64-4F48-8891-F1B5AD8AE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84E888-D222-4670-BAEA-DEF0C9269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063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95AB32-48A4-4E1F-9775-4E07999C3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69F301-434E-482B-8DD1-BDEF84368E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367A30-54CB-4A37-8F2C-8B4AAC2868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5C23C1-4575-4260-BFAD-C62EC3B7F6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F28DAB8-3B3B-4182-9F33-E8F59BC41D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11A063-930F-47DB-A756-5D83D0E78D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749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612EAC-847F-4E46-BAA5-92E01E0A6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929DC2-1B75-4CF3-85B9-6E3815D5F56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3BA56E-3724-463E-BC3C-9EB45E201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E6E120-6996-4527-A463-6D793EC327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9445C1-F0EB-4F4B-B4D3-813B9F24C5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301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55E479-3C2E-417B-8243-B084109C091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555187025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06F1AC4-C30C-4B4E-8570-21B97844813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1AE325-D6AA-49EE-B4A0-64B649180D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3D4BDF-03EB-4BFA-91AD-A88917603E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6C0621-65BD-4975-B5B0-5E073975D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FAEB24-9148-4D45-A2CE-29A26BA4D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393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41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1670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117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5912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1329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67671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4392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199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312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28573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4374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0E2B3B">
                  <a:alpha val="0"/>
                </a:srgbClr>
              </a:gs>
              <a:gs pos="51000">
                <a:srgbClr val="0E2B3B"/>
              </a:gs>
              <a:gs pos="100000">
                <a:srgbClr val="0E2B3B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3" y="1692275"/>
            <a:ext cx="11228917" cy="1849822"/>
          </a:xfrm>
        </p:spPr>
        <p:txBody>
          <a:bodyPr anchor="b"/>
          <a:lstStyle>
            <a:lvl1pPr algn="l">
              <a:defRPr sz="5400" b="0" cap="none" baseline="0">
                <a:solidFill>
                  <a:schemeClr val="tx1">
                    <a:lumMod val="9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4438651"/>
            <a:ext cx="10363200" cy="1806575"/>
          </a:xfrm>
        </p:spPr>
        <p:txBody>
          <a:bodyPr lIns="0"/>
          <a:lstStyle>
            <a:lvl1pPr marL="0" indent="0" algn="r">
              <a:buNone/>
              <a:defRPr sz="2800">
                <a:solidFill>
                  <a:schemeClr val="tx1">
                    <a:lumMod val="95000"/>
                  </a:schemeClr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Rectangle 69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0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1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662ABF-BAA7-4E6A-A703-15DC829A20A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36779159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59847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729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060A2-79FB-4118-96F8-997604866D0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40081150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7FB6A8-B4B4-4A80-BDE0-416E3759999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18768392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D8257-3F91-4225-BD1D-670798C7D51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5752838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5C2EE-CCC0-49CA-860D-E8ACF814AA2A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33988223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7813"/>
            <a:ext cx="2743200" cy="5848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7813"/>
            <a:ext cx="8026400" cy="5848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B1CCD-17F5-4240-AAB3-B7013C7B31E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19104925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7814"/>
            <a:ext cx="10972800" cy="11398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600205"/>
            <a:ext cx="5384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197600" y="1600205"/>
            <a:ext cx="5384800" cy="4525963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5" name="Rectangle 69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7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Rectangle 7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FA1E61-675A-4C83-B20D-C6EAD1F8F84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620220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Picture 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17639"/>
            <a:ext cx="12192000" cy="4827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5" name="Picture 2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17639"/>
            <a:ext cx="12192000" cy="531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5" name="Rectangle 74"/>
          <p:cNvSpPr/>
          <p:nvPr/>
        </p:nvSpPr>
        <p:spPr>
          <a:xfrm flipV="1">
            <a:off x="0" y="-1"/>
            <a:ext cx="12192000" cy="1600199"/>
          </a:xfrm>
          <a:prstGeom prst="rect">
            <a:avLst/>
          </a:prstGeom>
          <a:gradFill flip="none" rotWithShape="1">
            <a:gsLst>
              <a:gs pos="0">
                <a:srgbClr val="0E2B3B"/>
              </a:gs>
              <a:gs pos="51000">
                <a:srgbClr val="0E2B3B">
                  <a:alpha val="73000"/>
                </a:srgbClr>
              </a:gs>
              <a:gs pos="100000">
                <a:srgbClr val="0E2B3B">
                  <a:alpha val="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33799" name="Rectangle 67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7814"/>
            <a:ext cx="11582400" cy="113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3800" name="Rectangle 6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945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8981" name="Rectangle 6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545263"/>
            <a:ext cx="28448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solidFill>
                  <a:srgbClr val="4BACC6">
                    <a:lumMod val="50000"/>
                  </a:srgbClr>
                </a:solidFill>
                <a:effectLst/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8982" name="Rectangle 7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545263"/>
            <a:ext cx="38608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 dirty="0">
                <a:solidFill>
                  <a:srgbClr val="4BACC6">
                    <a:lumMod val="50000"/>
                  </a:srgbClr>
                </a:solidFill>
                <a:effectLst/>
                <a:latin typeface="+mn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/>
          </a:p>
        </p:txBody>
      </p:sp>
      <p:sp>
        <p:nvSpPr>
          <p:cNvPr id="38983" name="Rectangle 7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545263"/>
            <a:ext cx="28448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4BACC6">
                    <a:lumMod val="50000"/>
                  </a:srgbClr>
                </a:solidFill>
                <a:effectLst/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95B651-91C4-4719-A1DF-71B6BA7A8026}" type="slidenum">
              <a:rPr lang="en-US" altLang="en-US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15422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 spd="med">
    <p:fade/>
  </p:transition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rgbClr val="F2F2F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rgbClr val="F2F2F2"/>
          </a:solidFill>
          <a:effectLst>
            <a:outerShdw blurRad="38100" dist="38100" dir="2700000" algn="tl">
              <a:srgbClr val="000000"/>
            </a:outerShdw>
          </a:effectLst>
          <a:latin typeface="Calibri Light" pitchFamily="34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rgbClr val="F2F2F2"/>
          </a:solidFill>
          <a:effectLst>
            <a:outerShdw blurRad="38100" dist="38100" dir="2700000" algn="tl">
              <a:srgbClr val="000000"/>
            </a:outerShdw>
          </a:effectLst>
          <a:latin typeface="Calibri Light" pitchFamily="34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rgbClr val="F2F2F2"/>
          </a:solidFill>
          <a:effectLst>
            <a:outerShdw blurRad="38100" dist="38100" dir="2700000" algn="tl">
              <a:srgbClr val="000000"/>
            </a:outerShdw>
          </a:effectLst>
          <a:latin typeface="Calibri Light" pitchFamily="34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rgbClr val="F2F2F2"/>
          </a:solidFill>
          <a:effectLst>
            <a:outerShdw blurRad="38100" dist="38100" dir="2700000" algn="tl">
              <a:srgbClr val="000000"/>
            </a:outerShdw>
          </a:effectLst>
          <a:latin typeface="Calibri Light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9pPr>
    </p:titleStyle>
    <p:bodyStyle>
      <a:lvl1pPr marL="273050" indent="-273050" algn="l" rtl="0" eaLnBrk="0" fontAlgn="base" hangingPunct="0">
        <a:lnSpc>
          <a:spcPct val="95000"/>
        </a:lnSpc>
        <a:spcBef>
          <a:spcPts val="600"/>
        </a:spcBef>
        <a:spcAft>
          <a:spcPts val="600"/>
        </a:spcAft>
        <a:buClr>
          <a:srgbClr val="376092"/>
        </a:buClr>
        <a:buSzPct val="90000"/>
        <a:buFont typeface="Arial" pitchFamily="34" charset="0"/>
        <a:buChar char="•"/>
        <a:defRPr sz="2800">
          <a:solidFill>
            <a:srgbClr val="10253F"/>
          </a:solidFill>
          <a:latin typeface="+mn-lt"/>
          <a:ea typeface="+mn-ea"/>
          <a:cs typeface="+mn-cs"/>
        </a:defRPr>
      </a:lvl1pPr>
      <a:lvl2pPr marL="730250" indent="-273050" algn="l" rtl="0" eaLnBrk="0" fontAlgn="base" hangingPunct="0">
        <a:lnSpc>
          <a:spcPct val="95000"/>
        </a:lnSpc>
        <a:spcBef>
          <a:spcPts val="600"/>
        </a:spcBef>
        <a:spcAft>
          <a:spcPts val="600"/>
        </a:spcAft>
        <a:buClr>
          <a:srgbClr val="376092"/>
        </a:buClr>
        <a:buSzPct val="90000"/>
        <a:buFont typeface="Arial" pitchFamily="34" charset="0"/>
        <a:buChar char="̶"/>
        <a:defRPr sz="2400">
          <a:solidFill>
            <a:srgbClr val="10253F"/>
          </a:solidFill>
          <a:latin typeface="+mn-lt"/>
          <a:cs typeface="+mn-cs"/>
        </a:defRPr>
      </a:lvl2pPr>
      <a:lvl3pPr marL="1096963" indent="-273050" algn="l" rtl="0" eaLnBrk="0" fontAlgn="base" hangingPunct="0">
        <a:lnSpc>
          <a:spcPct val="95000"/>
        </a:lnSpc>
        <a:spcBef>
          <a:spcPts val="600"/>
        </a:spcBef>
        <a:spcAft>
          <a:spcPts val="600"/>
        </a:spcAft>
        <a:buClr>
          <a:srgbClr val="376092"/>
        </a:buClr>
        <a:buSzPct val="90000"/>
        <a:buFont typeface="Calibri" pitchFamily="34" charset="0"/>
        <a:buChar char="»"/>
        <a:defRPr sz="2000">
          <a:solidFill>
            <a:srgbClr val="10253F"/>
          </a:solidFill>
          <a:latin typeface="+mn-lt"/>
          <a:cs typeface="+mn-cs"/>
        </a:defRPr>
      </a:lvl3pPr>
      <a:lvl4pPr marL="1554163" indent="-273050" algn="l" rtl="0" eaLnBrk="0" fontAlgn="base" hangingPunct="0">
        <a:lnSpc>
          <a:spcPct val="95000"/>
        </a:lnSpc>
        <a:spcBef>
          <a:spcPts val="600"/>
        </a:spcBef>
        <a:spcAft>
          <a:spcPts val="600"/>
        </a:spcAft>
        <a:buClr>
          <a:srgbClr val="376092"/>
        </a:buClr>
        <a:buSzPct val="90000"/>
        <a:buFont typeface="Arial" pitchFamily="34" charset="0"/>
        <a:buChar char="•"/>
        <a:defRPr sz="1600">
          <a:solidFill>
            <a:srgbClr val="10253F"/>
          </a:solidFill>
          <a:latin typeface="+mn-lt"/>
          <a:cs typeface="+mn-cs"/>
        </a:defRPr>
      </a:lvl4pPr>
      <a:lvl5pPr marL="2011363" indent="-273050" algn="l" rtl="0" eaLnBrk="0" fontAlgn="base" hangingPunct="0">
        <a:lnSpc>
          <a:spcPct val="95000"/>
        </a:lnSpc>
        <a:spcBef>
          <a:spcPts val="600"/>
        </a:spcBef>
        <a:spcAft>
          <a:spcPts val="600"/>
        </a:spcAft>
        <a:buClr>
          <a:srgbClr val="376092"/>
        </a:buClr>
        <a:buSzPct val="90000"/>
        <a:buFont typeface="Wingdings" pitchFamily="2" charset="2"/>
        <a:buChar char="§"/>
        <a:defRPr sz="1200">
          <a:solidFill>
            <a:srgbClr val="10253F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DCDCFB5-A557-444D-8346-CD1DD49FC4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127030-214A-462E-AC9D-8BFD62453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49FC4-4692-4F4E-B9DD-9FC2B08960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BDA946-F486-41AF-BF08-57735A65574F}" type="datetimeFigureOut">
              <a:rPr lang="en-US" smtClean="0"/>
              <a:t>1/31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7536B5-65E5-4E8C-8AE1-13AE00E60B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1D9F87-77CB-4CB4-A0BC-EC9C9F62E2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F99243-DFDD-4135-A2B7-B4494E83E61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57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4816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26" imgH="526" progId="TCLayout.ActiveDocument.1">
                  <p:embed/>
                </p:oleObj>
              </mc:Choice>
              <mc:Fallback>
                <p:oleObj name="think-cell Slide" r:id="rId14" imgW="526" imgH="52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55598A-3BAC-4446-A6F4-A5830ABD4FE3}" type="datetimeFigureOut">
              <a:rPr lang="en-US" smtClean="0"/>
              <a:t>1/31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4F7E95-2AEA-4C90-8528-C659D04F14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1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12.svg"/><Relationship Id="rId26" Type="http://schemas.openxmlformats.org/officeDocument/2006/relationships/image" Target="../media/image20.svg"/><Relationship Id="rId3" Type="http://schemas.openxmlformats.org/officeDocument/2006/relationships/tags" Target="../tags/tag6.xml"/><Relationship Id="rId21" Type="http://schemas.openxmlformats.org/officeDocument/2006/relationships/image" Target="../media/image15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11.png"/><Relationship Id="rId25" Type="http://schemas.openxmlformats.org/officeDocument/2006/relationships/image" Target="../media/image19.png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14.svg"/><Relationship Id="rId29" Type="http://schemas.openxmlformats.org/officeDocument/2006/relationships/image" Target="../media/image23.png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image" Target="../media/image18.svg"/><Relationship Id="rId32" Type="http://schemas.openxmlformats.org/officeDocument/2006/relationships/image" Target="../media/image26.svg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image" Target="../media/image17.png"/><Relationship Id="rId28" Type="http://schemas.openxmlformats.org/officeDocument/2006/relationships/image" Target="../media/image22.svg"/><Relationship Id="rId10" Type="http://schemas.openxmlformats.org/officeDocument/2006/relationships/tags" Target="../tags/tag13.xml"/><Relationship Id="rId19" Type="http://schemas.openxmlformats.org/officeDocument/2006/relationships/image" Target="../media/image13.png"/><Relationship Id="rId31" Type="http://schemas.openxmlformats.org/officeDocument/2006/relationships/image" Target="../media/image25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16.svg"/><Relationship Id="rId27" Type="http://schemas.openxmlformats.org/officeDocument/2006/relationships/image" Target="../media/image21.png"/><Relationship Id="rId30" Type="http://schemas.openxmlformats.org/officeDocument/2006/relationships/image" Target="../media/image24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sz="4400" dirty="0"/>
              <a:t>Introduction to Sewage Epidemiolog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A830B9B-A641-4A24-BE67-A2118C40DB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14" y="1417639"/>
            <a:ext cx="6633713" cy="516254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A934F6E-96A6-4B3F-804E-27530410A1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9028" y="5112010"/>
            <a:ext cx="5492972" cy="154077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4651DF-A9FD-4FD1-AE92-FF3141A1DACA}"/>
              </a:ext>
            </a:extLst>
          </p:cNvPr>
          <p:cNvSpPr txBox="1"/>
          <p:nvPr/>
        </p:nvSpPr>
        <p:spPr>
          <a:xfrm>
            <a:off x="6699027" y="1413063"/>
            <a:ext cx="522203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alter Betancou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harles P. Gerb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an Pepp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partment of Environmenta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cience </a:t>
            </a:r>
          </a:p>
        </p:txBody>
      </p:sp>
    </p:spTree>
    <p:extLst>
      <p:ext uri="{BB962C8B-B14F-4D97-AF65-F5344CB8AC3E}">
        <p14:creationId xmlns:p14="http://schemas.microsoft.com/office/powerpoint/2010/main" val="607265288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8B820-9C33-49FC-9256-3418D9F53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1582400" cy="1139825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2800" dirty="0"/>
              <a:t>Wastewater-Based Epidemiology at the University of Arizona WEST Center</a:t>
            </a:r>
            <a:br>
              <a:rPr lang="en-US" sz="2800" dirty="0"/>
            </a:br>
            <a:r>
              <a:rPr lang="en-US" dirty="0"/>
              <a:t>The Likins Dorm Case Study - Timeline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02E906A6-4379-4D28-A35B-97AC02B96DEA}"/>
              </a:ext>
            </a:extLst>
          </p:cNvPr>
          <p:cNvGraphicFramePr>
            <a:graphicFrameLocks noGrp="1"/>
          </p:cNvGraphicFramePr>
          <p:nvPr/>
        </p:nvGraphicFramePr>
        <p:xfrm>
          <a:off x="0" y="1026366"/>
          <a:ext cx="12192001" cy="574765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18635">
                  <a:extLst>
                    <a:ext uri="{9D8B030D-6E8A-4147-A177-3AD203B41FA5}">
                      <a16:colId xmlns:a16="http://schemas.microsoft.com/office/drawing/2014/main" val="3123437288"/>
                    </a:ext>
                  </a:extLst>
                </a:gridCol>
                <a:gridCol w="2581028">
                  <a:extLst>
                    <a:ext uri="{9D8B030D-6E8A-4147-A177-3AD203B41FA5}">
                      <a16:colId xmlns:a16="http://schemas.microsoft.com/office/drawing/2014/main" val="944717822"/>
                    </a:ext>
                  </a:extLst>
                </a:gridCol>
                <a:gridCol w="8092338">
                  <a:extLst>
                    <a:ext uri="{9D8B030D-6E8A-4147-A177-3AD203B41FA5}">
                      <a16:colId xmlns:a16="http://schemas.microsoft.com/office/drawing/2014/main" val="2123853397"/>
                    </a:ext>
                  </a:extLst>
                </a:gridCol>
              </a:tblGrid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at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Time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Event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73622407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ugust 25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3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Likins Dorm wastewater sample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23889813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30am – 5:0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Sample analyze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07544552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:0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</a:rPr>
                        <a:t>positive for SARS-CV-2 and announced to UA Task Force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31663938"/>
                  </a:ext>
                </a:extLst>
              </a:tr>
              <a:tr h="3940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1:0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Emergency meeting, Dr. Pepper with Task Force including President Robbins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52285594"/>
                  </a:ext>
                </a:extLst>
              </a:tr>
              <a:tr h="3940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ugust 26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0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Emergency meeting – decision made to test students in Likins Hall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38391377"/>
                  </a:ext>
                </a:extLst>
              </a:tr>
              <a:tr h="39408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3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 samples, one every 5 minutes, collected from Likins Dorm sewag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9028299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1:0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ntigen and PCR tests of students in Likins Dor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396493"/>
                  </a:ext>
                </a:extLst>
              </a:tr>
              <a:tr h="8723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:3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</a:rPr>
                        <a:t>All 5 samples positive for SARS-CoV-2. Concentrations virtually identical in all 5 samples. 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FF0000"/>
                          </a:solidFill>
                          <a:effectLst/>
                        </a:rPr>
                        <a:t>Two students positive for antigen test and removed from Likins Dorm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47980752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ugust 2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3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Wastewater sample collected from Likins Dor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76891804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2:3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dditional sample collected from Likins Dor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35851458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:0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All samples found to be negative 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9199690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August 28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:30a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Likins Hall sample collected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33453561"/>
                  </a:ext>
                </a:extLst>
              </a:tr>
              <a:tr h="28206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 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:00pm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Sample found to be negative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23606854"/>
                  </a:ext>
                </a:extLst>
              </a:tr>
              <a:tr h="8723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effectLst/>
                        </a:rPr>
                        <a:t>August 30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lans made to double WBE testing capacity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  - Originally 10 locations twice weekly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  - New projection 24 locations 3x a week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101413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79288764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25DCC5-24F9-49E8-9BF9-DC2AA54600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b="1" dirty="0"/>
              <a:t>Effectiveness of the COVID-19 Containment Strategy </a:t>
            </a:r>
            <a:br>
              <a:rPr lang="en-US" sz="4000" b="1" dirty="0"/>
            </a:br>
            <a:r>
              <a:rPr lang="en-US" sz="4000" b="1" dirty="0"/>
              <a:t>at the University of Arizona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2AF4DDC-D17F-4E8B-A41D-75DEE5A5289B}"/>
              </a:ext>
            </a:extLst>
          </p:cNvPr>
          <p:cNvGraphicFramePr>
            <a:graphicFrameLocks/>
          </p:cNvGraphicFramePr>
          <p:nvPr/>
        </p:nvGraphicFramePr>
        <p:xfrm>
          <a:off x="1785257" y="1611086"/>
          <a:ext cx="8621485" cy="47679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EF77E88E-2DAB-4278-9047-6024217D2C00}"/>
              </a:ext>
            </a:extLst>
          </p:cNvPr>
          <p:cNvSpPr txBox="1"/>
          <p:nvPr/>
        </p:nvSpPr>
        <p:spPr>
          <a:xfrm>
            <a:off x="10683551" y="1940767"/>
            <a:ext cx="1508449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FFFF00"/>
                </a:solidFill>
              </a:rPr>
              <a:t>No new cases from 10/17</a:t>
            </a:r>
          </a:p>
          <a:p>
            <a:r>
              <a:rPr lang="en-US" sz="2800" dirty="0">
                <a:solidFill>
                  <a:srgbClr val="FFFF00"/>
                </a:solidFill>
              </a:rPr>
              <a:t>To  11/30</a:t>
            </a:r>
          </a:p>
        </p:txBody>
      </p:sp>
    </p:spTree>
    <p:extLst>
      <p:ext uri="{BB962C8B-B14F-4D97-AF65-F5344CB8AC3E}">
        <p14:creationId xmlns:p14="http://schemas.microsoft.com/office/powerpoint/2010/main" val="1437714948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CA0C5D7-2CE2-4542-B730-B3AA9F63EB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5400" dirty="0"/>
              <a:t>SARS-CoV-2 Virus - Updat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FC43372-3C5F-45AB-9E80-502B271551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200" dirty="0"/>
              <a:t>No infectious virus detected yet detected in wastewater</a:t>
            </a:r>
          </a:p>
          <a:p>
            <a:r>
              <a:rPr lang="en-US" sz="3200" dirty="0"/>
              <a:t>By RT-qPCR as high as 10,000,000/liter detected in wastewater</a:t>
            </a:r>
          </a:p>
          <a:p>
            <a:r>
              <a:rPr lang="en-US" sz="3200" dirty="0"/>
              <a:t>By RT-qPCR high a 100,000,000/liter  detected in primary sludge</a:t>
            </a:r>
          </a:p>
        </p:txBody>
      </p:sp>
    </p:spTree>
    <p:extLst>
      <p:ext uri="{BB962C8B-B14F-4D97-AF65-F5344CB8AC3E}">
        <p14:creationId xmlns:p14="http://schemas.microsoft.com/office/powerpoint/2010/main" val="3391504782"/>
      </p:ext>
    </p:extLst>
  </p:cSld>
  <p:clrMapOvr>
    <a:masterClrMapping/>
  </p:clrMapOvr>
  <p:transition spd="med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D6E667-0138-49A0-86C0-3E28AD44D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rgbClr val="FFFF00"/>
                </a:solidFill>
              </a:rPr>
              <a:t>What have we learned – sewage monitoring for SARS-CoV-2 at the University of Arizona and Tucs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B10ABE-02CA-4C96-8591-EE519F2D07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1311007"/>
            <a:ext cx="12191998" cy="5234257"/>
          </a:xfrm>
        </p:spPr>
        <p:txBody>
          <a:bodyPr/>
          <a:lstStyle/>
          <a:p>
            <a:r>
              <a:rPr lang="en-US" dirty="0"/>
              <a:t>Grab samples collected in the morning works in identifying cases </a:t>
            </a:r>
          </a:p>
          <a:p>
            <a:r>
              <a:rPr lang="en-US" dirty="0"/>
              <a:t>Can identify as few as 2 infected students in a in dorms of ~327</a:t>
            </a:r>
          </a:p>
          <a:p>
            <a:r>
              <a:rPr lang="en-US" dirty="0"/>
              <a:t>No viruses detected in sewage after infected students removed</a:t>
            </a:r>
          </a:p>
          <a:p>
            <a:r>
              <a:rPr lang="en-US" dirty="0"/>
              <a:t>Four-day lead on identifying cases before positive clinical test by student health center</a:t>
            </a:r>
          </a:p>
          <a:p>
            <a:r>
              <a:rPr lang="en-US" dirty="0"/>
              <a:t>Concentration of virus increases in community sewage after Memorial day, 4</a:t>
            </a:r>
            <a:r>
              <a:rPr lang="en-US" baseline="30000" dirty="0"/>
              <a:t>th</a:t>
            </a:r>
            <a:r>
              <a:rPr lang="en-US" dirty="0"/>
              <a:t> of July, Labor, Thanksgiving and New Year day before increase seen in clinical cases</a:t>
            </a:r>
          </a:p>
          <a:p>
            <a:r>
              <a:rPr lang="en-US" dirty="0"/>
              <a:t>Social distancing, use of masks, and stay in place decreased concentration of virus in sewage </a:t>
            </a:r>
          </a:p>
          <a:p>
            <a:r>
              <a:rPr lang="en-US" dirty="0"/>
              <a:t>Virus concentrations in dorm sewage with infected individuals range from 1e3 to 1e9 per liter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4812536"/>
      </p:ext>
    </p:extLst>
  </p:cSld>
  <p:clrMapOvr>
    <a:masterClrMapping/>
  </p:clrMapOvr>
  <p:transition spd="med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20013-C666-41AB-B151-C73C0EB639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need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42412D-1BB6-4393-B487-C3CD0C4403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Development of standard methods</a:t>
            </a:r>
          </a:p>
          <a:p>
            <a:pPr lvl="1"/>
            <a:r>
              <a:rPr lang="en-US" dirty="0"/>
              <a:t>Several companies are producing SARS-CoV-2 test kits for wastewater testing</a:t>
            </a:r>
          </a:p>
          <a:p>
            <a:r>
              <a:rPr lang="en-US" dirty="0"/>
              <a:t>Tools for data analyses</a:t>
            </a:r>
          </a:p>
          <a:p>
            <a:r>
              <a:rPr lang="en-US" dirty="0"/>
              <a:t>Education and training</a:t>
            </a:r>
          </a:p>
          <a:p>
            <a:pPr lvl="1"/>
            <a:r>
              <a:rPr lang="en-US" dirty="0"/>
              <a:t>Most health departments do not know how to use the data</a:t>
            </a:r>
          </a:p>
          <a:p>
            <a:pPr lvl="1"/>
            <a:r>
              <a:rPr lang="en-US" dirty="0"/>
              <a:t>Many </a:t>
            </a:r>
            <a:r>
              <a:rPr lang="en-US" dirty="0" err="1"/>
              <a:t>potentional</a:t>
            </a:r>
            <a:r>
              <a:rPr lang="en-US" dirty="0"/>
              <a:t> applications </a:t>
            </a:r>
          </a:p>
          <a:p>
            <a:pPr lvl="2"/>
            <a:r>
              <a:rPr lang="en-US" dirty="0"/>
              <a:t>– quantifying successes of interventions</a:t>
            </a:r>
          </a:p>
          <a:p>
            <a:pPr lvl="2"/>
            <a:r>
              <a:rPr lang="en-US" dirty="0"/>
              <a:t>-targeting interventions to greatest number of cases with a region</a:t>
            </a:r>
          </a:p>
          <a:p>
            <a:r>
              <a:rPr lang="en-US" dirty="0"/>
              <a:t>National network data collection</a:t>
            </a:r>
          </a:p>
          <a:p>
            <a:pPr lvl="1"/>
            <a:r>
              <a:rPr lang="en-US" dirty="0"/>
              <a:t>100 treatment systems will be in a nationwide network in the U.S. (NIH/CDC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98484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5AA32-71AA-4C76-821D-FF0857DD3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4000" dirty="0"/>
              <a:t> Sewage Surveillan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ED7ECA-799C-4223-B84C-271A107ED5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he virus concentration in sewage is related to the number of cases in a community</a:t>
            </a:r>
          </a:p>
          <a:p>
            <a:r>
              <a:rPr lang="en-US" dirty="0"/>
              <a:t>Goes back more than 40 years for detecting poliovirus cases in communities – in use by poliovirus eradication program</a:t>
            </a:r>
          </a:p>
          <a:p>
            <a:r>
              <a:rPr lang="en-US" dirty="0"/>
              <a:t>Advantages:</a:t>
            </a:r>
          </a:p>
          <a:p>
            <a:pPr lvl="1"/>
            <a:r>
              <a:rPr lang="en-US" dirty="0"/>
              <a:t>Can detect one case of infection in 100,000 persons</a:t>
            </a:r>
          </a:p>
          <a:p>
            <a:pPr lvl="1"/>
            <a:r>
              <a:rPr lang="en-US" dirty="0"/>
              <a:t>Can determine success or failures of interventions</a:t>
            </a:r>
          </a:p>
          <a:p>
            <a:pPr lvl="1"/>
            <a:r>
              <a:rPr lang="en-US" dirty="0"/>
              <a:t>Can predict the number of cases 7 to 10 days before clinical cases are recognized</a:t>
            </a:r>
          </a:p>
          <a:p>
            <a:pPr lvl="1"/>
            <a:r>
              <a:rPr lang="en-US" dirty="0"/>
              <a:t>Can be use to identify facilities with infected individuals</a:t>
            </a:r>
          </a:p>
          <a:p>
            <a:pPr lvl="1"/>
            <a:r>
              <a:rPr lang="en-US" dirty="0"/>
              <a:t>Less closely than large numbers of clinical tests</a:t>
            </a:r>
          </a:p>
        </p:txBody>
      </p:sp>
    </p:spTree>
    <p:extLst>
      <p:ext uri="{BB962C8B-B14F-4D97-AF65-F5344CB8AC3E}">
        <p14:creationId xmlns:p14="http://schemas.microsoft.com/office/powerpoint/2010/main" val="1277618005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5AA32-71AA-4C76-821D-FF0857DD3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7814"/>
            <a:ext cx="11582400" cy="1139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 SARS- CoV-2 Studies Underw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ED7ECA-799C-4223-B84C-271A107ED5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5149511"/>
          </a:xfrm>
        </p:spPr>
        <p:txBody>
          <a:bodyPr wrap="square" anchor="t">
            <a:normAutofit fontScale="77500" lnSpcReduction="20000"/>
          </a:bodyPr>
          <a:lstStyle/>
          <a:p>
            <a:r>
              <a:rPr lang="en-US" sz="3100" dirty="0"/>
              <a:t>Sewage surveillance of</a:t>
            </a:r>
          </a:p>
          <a:p>
            <a:pPr lvl="1"/>
            <a:r>
              <a:rPr lang="en-US" sz="3100" dirty="0"/>
              <a:t>Communities</a:t>
            </a:r>
          </a:p>
          <a:p>
            <a:pPr lvl="1"/>
            <a:r>
              <a:rPr lang="en-US" sz="3100" dirty="0"/>
              <a:t>Dormitories</a:t>
            </a:r>
          </a:p>
          <a:p>
            <a:r>
              <a:rPr lang="en-US" sz="3100" dirty="0"/>
              <a:t>Determination of infectivity of SARS-CoV-2 in wastewater</a:t>
            </a:r>
          </a:p>
          <a:p>
            <a:r>
              <a:rPr lang="en-US" sz="3100" dirty="0"/>
              <a:t>Survival of SARS-CoV-2 in wastewater</a:t>
            </a:r>
          </a:p>
          <a:p>
            <a:r>
              <a:rPr lang="en-US" sz="3100" dirty="0"/>
              <a:t>Disinfectant assessment</a:t>
            </a:r>
          </a:p>
          <a:p>
            <a:pPr lvl="1"/>
            <a:r>
              <a:rPr lang="en-US" sz="3100" dirty="0"/>
              <a:t>UV light</a:t>
            </a:r>
          </a:p>
          <a:p>
            <a:pPr lvl="1"/>
            <a:r>
              <a:rPr lang="en-US" sz="3100" dirty="0"/>
              <a:t>Chloramines</a:t>
            </a:r>
          </a:p>
          <a:p>
            <a:r>
              <a:rPr lang="en-US" sz="3100" dirty="0"/>
              <a:t>Persistent anti-viral coatings and fabrics </a:t>
            </a:r>
          </a:p>
          <a:p>
            <a:pPr lvl="1"/>
            <a:r>
              <a:rPr lang="en-US" sz="3100" dirty="0"/>
              <a:t>Anti-viral clothing (Masks and protective equipment)</a:t>
            </a:r>
          </a:p>
          <a:p>
            <a:pPr lvl="1"/>
            <a:endParaRPr lang="en-US" sz="15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4D26641-AE03-4710-A2E0-DCB2846C4C1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650" r="3178" b="-1"/>
          <a:stretch/>
        </p:blipFill>
        <p:spPr>
          <a:xfrm>
            <a:off x="6197600" y="1600205"/>
            <a:ext cx="5384800" cy="4525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8152380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3C30D-E324-4320-8CC8-CEB4AF8E8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7814"/>
            <a:ext cx="11582400" cy="1139825"/>
          </a:xfrm>
        </p:spPr>
        <p:txBody>
          <a:bodyPr wrap="square" anchor="t">
            <a:normAutofit/>
          </a:bodyPr>
          <a:lstStyle/>
          <a:p>
            <a:r>
              <a:rPr lang="en-US" dirty="0"/>
              <a:t>Coronaviru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F7B99E-8A8E-4174-8EA6-B3B033172A0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25963"/>
          </a:xfrm>
        </p:spPr>
        <p:txBody>
          <a:bodyPr wrap="square" anchor="t">
            <a:normAutofit/>
          </a:bodyPr>
          <a:lstStyle/>
          <a:p>
            <a:r>
              <a:rPr lang="en-US" sz="4000" dirty="0"/>
              <a:t>An enveloped virus</a:t>
            </a:r>
          </a:p>
          <a:p>
            <a:r>
              <a:rPr lang="en-US" sz="4000" dirty="0" err="1"/>
              <a:t>ssRNA</a:t>
            </a:r>
            <a:endParaRPr lang="en-US" sz="4000" dirty="0"/>
          </a:p>
          <a:p>
            <a:r>
              <a:rPr lang="en-US" sz="4000" dirty="0"/>
              <a:t>Survives several days in wastewater/ water</a:t>
            </a:r>
          </a:p>
          <a:p>
            <a:r>
              <a:rPr lang="en-US" sz="4000" dirty="0"/>
              <a:t>Excreted in both the urine and feces 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6E4D35-15B6-4719-B600-7A5403CDEC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786" r="14267" b="1"/>
          <a:stretch/>
        </p:blipFill>
        <p:spPr>
          <a:xfrm>
            <a:off x="6797842" y="2104713"/>
            <a:ext cx="4784558" cy="402145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64420493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C7A8A9-D11C-4904-BCEC-CA6DCAF59A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7815"/>
            <a:ext cx="11582400" cy="589452"/>
          </a:xfrm>
        </p:spPr>
        <p:txBody>
          <a:bodyPr/>
          <a:lstStyle/>
          <a:p>
            <a:pPr algn="ctr"/>
            <a:r>
              <a:rPr lang="en-US" b="1" dirty="0">
                <a:solidFill>
                  <a:srgbClr val="FFFF00"/>
                </a:solidFill>
              </a:rPr>
              <a:t>Advantages of Wastewater Epidemiology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6DCC1F9-8E81-4463-8CA6-484971FC22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2548" y="999241"/>
            <a:ext cx="11972042" cy="5769203"/>
          </a:xfrm>
        </p:spPr>
      </p:pic>
    </p:spTree>
    <p:extLst>
      <p:ext uri="{BB962C8B-B14F-4D97-AF65-F5344CB8AC3E}">
        <p14:creationId xmlns:p14="http://schemas.microsoft.com/office/powerpoint/2010/main" val="1414599697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4BA11AA-7AB1-40B1-8835-06B2BFF2B5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35756"/>
            <a:ext cx="12192000" cy="6186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454740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467814" y="2142293"/>
            <a:ext cx="875586" cy="1058107"/>
            <a:chOff x="3072968" y="1861823"/>
            <a:chExt cx="875586" cy="1058107"/>
          </a:xfrm>
        </p:grpSpPr>
        <p:pic>
          <p:nvPicPr>
            <p:cNvPr id="3" name="CustomIcon">
              <a:extLst>
                <a:ext uri="{FF2B5EF4-FFF2-40B4-BE49-F238E27FC236}">
                  <a16:creationId xmlns:a16="http://schemas.microsoft.com/office/drawing/2014/main" id="{6CBBB790-EFA7-4ACC-89EF-9EC1CAD52DB8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3226022" y="2252463"/>
              <a:ext cx="378514" cy="378514"/>
            </a:xfrm>
            <a:prstGeom prst="rect">
              <a:avLst/>
            </a:prstGeom>
          </p:spPr>
        </p:pic>
        <p:pic>
          <p:nvPicPr>
            <p:cNvPr id="4" name="CustomIcon">
              <a:extLst>
                <a:ext uri="{FF2B5EF4-FFF2-40B4-BE49-F238E27FC236}">
                  <a16:creationId xmlns:a16="http://schemas.microsoft.com/office/drawing/2014/main" id="{ADEBFA0A-FED0-4F37-A8EC-50D153930BB2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3570040" y="2541416"/>
              <a:ext cx="378514" cy="378514"/>
            </a:xfrm>
            <a:prstGeom prst="rect">
              <a:avLst/>
            </a:prstGeom>
          </p:spPr>
        </p:pic>
        <p:pic>
          <p:nvPicPr>
            <p:cNvPr id="5" name="CustomIcon">
              <a:extLst>
                <a:ext uri="{FF2B5EF4-FFF2-40B4-BE49-F238E27FC236}">
                  <a16:creationId xmlns:a16="http://schemas.microsoft.com/office/drawing/2014/main" id="{3F3A87B2-5383-4FCD-B1B3-AC5623718039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3072968" y="1861823"/>
              <a:ext cx="378514" cy="378514"/>
            </a:xfrm>
            <a:prstGeom prst="rect">
              <a:avLst/>
            </a:prstGeom>
          </p:spPr>
        </p:pic>
      </p:grpSp>
      <p:pic>
        <p:nvPicPr>
          <p:cNvPr id="6" name="CustomIcon">
            <a:extLst>
              <a:ext uri="{FF2B5EF4-FFF2-40B4-BE49-F238E27FC236}">
                <a16:creationId xmlns:a16="http://schemas.microsoft.com/office/drawing/2014/main" id="{96595574-F5A1-4D38-A2C2-200282755038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250886" y="2593286"/>
            <a:ext cx="378514" cy="378514"/>
          </a:xfrm>
          <a:prstGeom prst="rect">
            <a:avLst/>
          </a:prstGeom>
        </p:spPr>
      </p:pic>
      <p:pic>
        <p:nvPicPr>
          <p:cNvPr id="7" name="CustomIcon">
            <a:extLst>
              <a:ext uri="{FF2B5EF4-FFF2-40B4-BE49-F238E27FC236}">
                <a16:creationId xmlns:a16="http://schemas.microsoft.com/office/drawing/2014/main" id="{73DAE150-C5C7-44F9-8A7E-A8536E9A231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705168" y="2593286"/>
            <a:ext cx="378514" cy="378514"/>
          </a:xfrm>
          <a:prstGeom prst="rect">
            <a:avLst/>
          </a:prstGeom>
        </p:spPr>
      </p:pic>
      <p:pic>
        <p:nvPicPr>
          <p:cNvPr id="8" name="CustomIcon">
            <a:extLst>
              <a:ext uri="{FF2B5EF4-FFF2-40B4-BE49-F238E27FC236}">
                <a16:creationId xmlns:a16="http://schemas.microsoft.com/office/drawing/2014/main" id="{DE64841A-F228-45CD-AC4C-D1B08FC3BC29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146486" y="2587479"/>
            <a:ext cx="378514" cy="378514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8613086" y="2587479"/>
            <a:ext cx="378514" cy="378514"/>
            <a:chOff x="7014731" y="1884729"/>
            <a:chExt cx="378514" cy="378514"/>
          </a:xfrm>
        </p:grpSpPr>
        <p:pic>
          <p:nvPicPr>
            <p:cNvPr id="10" name="CustomIcon">
              <a:extLst>
                <a:ext uri="{FF2B5EF4-FFF2-40B4-BE49-F238E27FC236}">
                  <a16:creationId xmlns:a16="http://schemas.microsoft.com/office/drawing/2014/main" id="{D65D8473-9898-4DDD-9907-5EEA1B670E40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7014731" y="1884729"/>
              <a:ext cx="378514" cy="378514"/>
            </a:xfrm>
            <a:prstGeom prst="rect">
              <a:avLst/>
            </a:prstGeom>
          </p:spPr>
        </p:pic>
        <p:sp>
          <p:nvSpPr>
            <p:cNvPr id="11" name="Freeform: Shape 33">
              <a:extLst>
                <a:ext uri="{FF2B5EF4-FFF2-40B4-BE49-F238E27FC236}">
                  <a16:creationId xmlns:a16="http://schemas.microsoft.com/office/drawing/2014/main" id="{74D948D3-A808-4C80-B1C7-3DEC73FE51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62948" y="1999229"/>
              <a:ext cx="172117" cy="121493"/>
            </a:xfrm>
            <a:custGeom>
              <a:avLst/>
              <a:gdLst>
                <a:gd name="connsiteX0" fmla="*/ 0 w 97155"/>
                <a:gd name="connsiteY0" fmla="*/ 39052 h 68579"/>
                <a:gd name="connsiteX1" fmla="*/ 28575 w 97155"/>
                <a:gd name="connsiteY1" fmla="*/ 68580 h 68579"/>
                <a:gd name="connsiteX2" fmla="*/ 97155 w 97155"/>
                <a:gd name="connsiteY2" fmla="*/ 0 h 68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7155" h="68579">
                  <a:moveTo>
                    <a:pt x="0" y="39052"/>
                  </a:moveTo>
                  <a:lnTo>
                    <a:pt x="28575" y="68580"/>
                  </a:lnTo>
                  <a:lnTo>
                    <a:pt x="97155" y="0"/>
                  </a:lnTo>
                </a:path>
              </a:pathLst>
            </a:custGeom>
            <a:noFill/>
            <a:ln w="12700" cap="flat">
              <a:solidFill>
                <a:srgbClr val="051C2C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2" name="CustomIcon">
            <a:extLst>
              <a:ext uri="{FF2B5EF4-FFF2-40B4-BE49-F238E27FC236}">
                <a16:creationId xmlns:a16="http://schemas.microsoft.com/office/drawing/2014/main" id="{25F5FDEF-25D6-4E5C-AFB2-9C52A4DFE039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219200" y="2438400"/>
            <a:ext cx="609600" cy="609600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578318" y="3328250"/>
            <a:ext cx="2047451" cy="1084421"/>
            <a:chOff x="671384" y="3124200"/>
            <a:chExt cx="1861319" cy="1084421"/>
          </a:xfrm>
        </p:grpSpPr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671384" y="3622678"/>
              <a:ext cx="1861319" cy="58594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7,600 on-campus student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3 dorm buildings</a:t>
              </a:r>
            </a:p>
          </p:txBody>
        </p:sp>
        <p:sp>
          <p:nvSpPr>
            <p:cNvPr id="15" name="TextBox 14"/>
            <p:cNvSpPr txBox="1">
              <a:spLocks/>
            </p:cNvSpPr>
            <p:nvPr/>
          </p:nvSpPr>
          <p:spPr>
            <a:xfrm>
              <a:off x="671384" y="3124200"/>
              <a:ext cx="186131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Population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970533" y="3328250"/>
            <a:ext cx="2047451" cy="1084421"/>
            <a:chOff x="2854776" y="3124200"/>
            <a:chExt cx="1861319" cy="1084421"/>
          </a:xfrm>
        </p:grpSpPr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2854776" y="3622678"/>
              <a:ext cx="1861319" cy="58594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Weekly collection for each buil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omalous results trigger additional sampl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Anonymous nature of sampling alleviates CLIA requirements</a:t>
              </a:r>
            </a:p>
          </p:txBody>
        </p:sp>
        <p:sp>
          <p:nvSpPr>
            <p:cNvPr id="18" name="TextBox 17"/>
            <p:cNvSpPr txBox="1">
              <a:spLocks/>
            </p:cNvSpPr>
            <p:nvPr/>
          </p:nvSpPr>
          <p:spPr>
            <a:xfrm>
              <a:off x="2854776" y="3124200"/>
              <a:ext cx="186131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ollection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754960" y="3328250"/>
            <a:ext cx="4056040" cy="1084421"/>
            <a:chOff x="7221560" y="3124200"/>
            <a:chExt cx="4056040" cy="1084421"/>
          </a:xfrm>
        </p:grpSpPr>
        <p:sp>
          <p:nvSpPr>
            <p:cNvPr id="20" name="TextBox 19"/>
            <p:cNvSpPr txBox="1">
              <a:spLocks/>
            </p:cNvSpPr>
            <p:nvPr/>
          </p:nvSpPr>
          <p:spPr>
            <a:xfrm>
              <a:off x="7221560" y="3124200"/>
              <a:ext cx="4056040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Structured decision tree based on results</a:t>
              </a:r>
            </a:p>
          </p:txBody>
        </p:sp>
        <p:sp>
          <p:nvSpPr>
            <p:cNvPr id="21" name="TextBox 20"/>
            <p:cNvSpPr txBox="1">
              <a:spLocks/>
            </p:cNvSpPr>
            <p:nvPr/>
          </p:nvSpPr>
          <p:spPr>
            <a:xfrm>
              <a:off x="7221560" y="3622678"/>
              <a:ext cx="3592318" cy="58594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to 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viral copi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: increased wastewater screening of target build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3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to 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4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viral copi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: increased wastewater screening and initial individual screen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5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to 10</a:t>
              </a:r>
              <a:r>
                <a:rPr kumimoji="0" lang="en-US" sz="1600" b="1" i="0" u="none" strike="noStrike" kern="120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9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viral copies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: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tensive response with antigen testing of all individuals and follow-on molecular tests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362748" y="3328250"/>
            <a:ext cx="2047451" cy="1084421"/>
            <a:chOff x="5038168" y="3124200"/>
            <a:chExt cx="1861319" cy="1084421"/>
          </a:xfrm>
        </p:grpSpPr>
        <p:sp>
          <p:nvSpPr>
            <p:cNvPr id="23" name="TextBox 22"/>
            <p:cNvSpPr txBox="1">
              <a:spLocks/>
            </p:cNvSpPr>
            <p:nvPr/>
          </p:nvSpPr>
          <p:spPr>
            <a:xfrm>
              <a:off x="5038168" y="3622678"/>
              <a:ext cx="1861319" cy="58594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Existing BSL 2 lab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Filters and centrifuges for simple sample prep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DC panel assay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Roche and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Biorad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 RT-PCR analyzers</a:t>
              </a:r>
            </a:p>
          </p:txBody>
        </p:sp>
        <p:sp>
          <p:nvSpPr>
            <p:cNvPr id="24" name="TextBox 23"/>
            <p:cNvSpPr txBox="1">
              <a:spLocks/>
            </p:cNvSpPr>
            <p:nvPr/>
          </p:nvSpPr>
          <p:spPr>
            <a:xfrm>
              <a:off x="5038168" y="3124200"/>
              <a:ext cx="1861319" cy="246221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Lab processing</a:t>
              </a:r>
            </a:p>
          </p:txBody>
        </p:sp>
      </p:grpSp>
      <p:grpSp>
        <p:nvGrpSpPr>
          <p:cNvPr id="25" name="ChevronBlue 44"/>
          <p:cNvGrpSpPr/>
          <p:nvPr>
            <p:custDataLst>
              <p:tags r:id="rId5"/>
            </p:custDataLst>
          </p:nvPr>
        </p:nvGrpSpPr>
        <p:grpSpPr>
          <a:xfrm>
            <a:off x="2662837" y="3352800"/>
            <a:ext cx="270629" cy="270629"/>
            <a:chOff x="1016000" y="1016000"/>
            <a:chExt cx="396228" cy="396228"/>
          </a:xfrm>
        </p:grpSpPr>
        <p:sp>
          <p:nvSpPr>
            <p:cNvPr id="26" name="Oval 25"/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0A3655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26"/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ChevronBlue 44"/>
          <p:cNvGrpSpPr/>
          <p:nvPr>
            <p:custDataLst>
              <p:tags r:id="rId6"/>
            </p:custDataLst>
          </p:nvPr>
        </p:nvGrpSpPr>
        <p:grpSpPr>
          <a:xfrm>
            <a:off x="5055052" y="3352800"/>
            <a:ext cx="270629" cy="270629"/>
            <a:chOff x="1016000" y="1016000"/>
            <a:chExt cx="396228" cy="396228"/>
          </a:xfrm>
        </p:grpSpPr>
        <p:sp>
          <p:nvSpPr>
            <p:cNvPr id="29" name="Oval 28"/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0A3655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29"/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31" name="LineContentSeparatorDefault 40"/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798151" y="3610028"/>
            <a:ext cx="1" cy="286697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LineContentSeparatorDefault 40"/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190366" y="3610028"/>
            <a:ext cx="1" cy="286697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LineContentSeparatorDefault 40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7582580" y="3610028"/>
            <a:ext cx="1" cy="2866972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34" name="ChevronBlue 44"/>
          <p:cNvGrpSpPr/>
          <p:nvPr>
            <p:custDataLst>
              <p:tags r:id="rId10"/>
            </p:custDataLst>
          </p:nvPr>
        </p:nvGrpSpPr>
        <p:grpSpPr>
          <a:xfrm>
            <a:off x="7447266" y="3352800"/>
            <a:ext cx="270629" cy="270629"/>
            <a:chOff x="1016000" y="1016000"/>
            <a:chExt cx="396228" cy="396228"/>
          </a:xfrm>
        </p:grpSpPr>
        <p:sp>
          <p:nvSpPr>
            <p:cNvPr id="35" name="Oval 34"/>
            <p:cNvSpPr/>
            <p:nvPr/>
          </p:nvSpPr>
          <p:spPr>
            <a:xfrm>
              <a:off x="1016000" y="1016000"/>
              <a:ext cx="396228" cy="396228"/>
            </a:xfrm>
            <a:prstGeom prst="ellipse">
              <a:avLst/>
            </a:prstGeom>
            <a:solidFill>
              <a:srgbClr val="0A3655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>
              <a:spLocks noChangeAspect="1"/>
            </p:cNvSpPr>
            <p:nvPr/>
          </p:nvSpPr>
          <p:spPr>
            <a:xfrm>
              <a:off x="1167567" y="1118521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rgbClr val="FFFFFF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2" name="2. Slide Title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731818" y="172212"/>
            <a:ext cx="9905446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500" b="1" kern="1200" spc="0" baseline="0">
                <a:ln w="6350" cap="flat">
                  <a:noFill/>
                  <a:miter lim="800000"/>
                </a:ln>
                <a:solidFill>
                  <a:schemeClr val="accent1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A3655">
                    <a:lumMod val="90000"/>
                    <a:lumOff val="10000"/>
                  </a:srgbClr>
                </a:solidFill>
                <a:effectLst/>
                <a:uLnTx/>
                <a:uFillTx/>
                <a:latin typeface="Georgia"/>
                <a:ea typeface="+mj-ea"/>
                <a:cs typeface="+mj-cs"/>
              </a:rPr>
              <a:t>How University of Arizona aimed to control spread among 7,600 students</a:t>
            </a:r>
          </a:p>
        </p:txBody>
      </p:sp>
    </p:spTree>
    <p:extLst>
      <p:ext uri="{BB962C8B-B14F-4D97-AF65-F5344CB8AC3E}">
        <p14:creationId xmlns:p14="http://schemas.microsoft.com/office/powerpoint/2010/main" val="33622385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F873FC6-C268-47C8-8F90-7897FBAEA4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875" y="2243579"/>
            <a:ext cx="5476875" cy="3593659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018AA1B-6A98-46EC-AF61-93F96D0E0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0300" y="2309813"/>
            <a:ext cx="5330825" cy="3527425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B1FA1CF-6836-46EE-99EF-AD37ECBEF8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7814"/>
            <a:ext cx="11582400" cy="1139825"/>
          </a:xfrm>
        </p:spPr>
        <p:txBody>
          <a:bodyPr wrap="square" anchor="t">
            <a:normAutofit/>
          </a:bodyPr>
          <a:lstStyle/>
          <a:p>
            <a:pPr algn="ctr"/>
            <a:r>
              <a:rPr lang="en-US" b="1" dirty="0">
                <a:solidFill>
                  <a:srgbClr val="FFFF00"/>
                </a:solidFill>
              </a:rPr>
              <a:t>Collecting Wastewater  from Dorms</a:t>
            </a:r>
          </a:p>
        </p:txBody>
      </p:sp>
    </p:spTree>
    <p:extLst>
      <p:ext uri="{BB962C8B-B14F-4D97-AF65-F5344CB8AC3E}">
        <p14:creationId xmlns:p14="http://schemas.microsoft.com/office/powerpoint/2010/main" val="1917544035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A3BAF07C-C39E-42EB-BB22-8D46691D973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93061" cy="6858000"/>
          </a:xfrm>
          <a:prstGeom prst="rect">
            <a:avLst/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8E9CF54-0466-4261-9E62-0249E60E18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-329674" y="-59376"/>
            <a:ext cx="12515851" cy="6923798"/>
            <a:chOff x="-329674" y="-51881"/>
            <a:chExt cx="12515851" cy="6923798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33E32106-E8B1-4F76-9EE6-58537738A3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329674" y="1298404"/>
              <a:ext cx="9702800" cy="5573512"/>
            </a:xfrm>
            <a:custGeom>
              <a:avLst/>
              <a:gdLst/>
              <a:ahLst/>
              <a:cxnLst/>
              <a:rect l="0" t="0" r="r" b="b"/>
              <a:pathLst>
                <a:path w="2038" h="1169">
                  <a:moveTo>
                    <a:pt x="1752" y="1169"/>
                  </a:moveTo>
                  <a:cubicBezTo>
                    <a:pt x="2038" y="928"/>
                    <a:pt x="1673" y="513"/>
                    <a:pt x="1487" y="334"/>
                  </a:cubicBezTo>
                  <a:cubicBezTo>
                    <a:pt x="1316" y="170"/>
                    <a:pt x="1099" y="43"/>
                    <a:pt x="860" y="22"/>
                  </a:cubicBezTo>
                  <a:cubicBezTo>
                    <a:pt x="621" y="0"/>
                    <a:pt x="341" y="128"/>
                    <a:pt x="199" y="318"/>
                  </a:cubicBezTo>
                  <a:cubicBezTo>
                    <a:pt x="0" y="586"/>
                    <a:pt x="184" y="965"/>
                    <a:pt x="399" y="116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32C2C46-A045-44FB-8A74-5EBD650C278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70451" y="2018236"/>
              <a:ext cx="7373938" cy="4848892"/>
            </a:xfrm>
            <a:custGeom>
              <a:avLst/>
              <a:gdLst/>
              <a:ahLst/>
              <a:cxnLst/>
              <a:rect l="0" t="0" r="r" b="b"/>
              <a:pathLst>
                <a:path w="1549" h="1017">
                  <a:moveTo>
                    <a:pt x="1025" y="1016"/>
                  </a:moveTo>
                  <a:cubicBezTo>
                    <a:pt x="1223" y="971"/>
                    <a:pt x="1549" y="857"/>
                    <a:pt x="1443" y="592"/>
                  </a:cubicBezTo>
                  <a:cubicBezTo>
                    <a:pt x="1344" y="344"/>
                    <a:pt x="1041" y="111"/>
                    <a:pt x="782" y="53"/>
                  </a:cubicBezTo>
                  <a:cubicBezTo>
                    <a:pt x="545" y="0"/>
                    <a:pt x="275" y="117"/>
                    <a:pt x="150" y="329"/>
                  </a:cubicBezTo>
                  <a:cubicBezTo>
                    <a:pt x="0" y="584"/>
                    <a:pt x="243" y="911"/>
                    <a:pt x="477" y="1017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3" name="Freeform 7">
              <a:extLst>
                <a:ext uri="{FF2B5EF4-FFF2-40B4-BE49-F238E27FC236}">
                  <a16:creationId xmlns:a16="http://schemas.microsoft.com/office/drawing/2014/main" id="{6A76F79C-6683-4940-BCF7-4BCCCEE4068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251351" y="1788400"/>
              <a:ext cx="8035925" cy="5083516"/>
            </a:xfrm>
            <a:custGeom>
              <a:avLst/>
              <a:gdLst/>
              <a:ahLst/>
              <a:cxnLst/>
              <a:rect l="0" t="0" r="r" b="b"/>
              <a:pathLst>
                <a:path w="1688" h="1066">
                  <a:moveTo>
                    <a:pt x="1302" y="1066"/>
                  </a:moveTo>
                  <a:cubicBezTo>
                    <a:pt x="1416" y="1024"/>
                    <a:pt x="1551" y="962"/>
                    <a:pt x="1613" y="850"/>
                  </a:cubicBezTo>
                  <a:cubicBezTo>
                    <a:pt x="1688" y="715"/>
                    <a:pt x="1606" y="575"/>
                    <a:pt x="1517" y="471"/>
                  </a:cubicBezTo>
                  <a:cubicBezTo>
                    <a:pt x="1336" y="258"/>
                    <a:pt x="1084" y="62"/>
                    <a:pt x="798" y="28"/>
                  </a:cubicBezTo>
                  <a:cubicBezTo>
                    <a:pt x="559" y="0"/>
                    <a:pt x="317" y="138"/>
                    <a:pt x="181" y="333"/>
                  </a:cubicBezTo>
                  <a:cubicBezTo>
                    <a:pt x="0" y="592"/>
                    <a:pt x="191" y="907"/>
                    <a:pt x="420" y="10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FF4675A3-6D07-4B1F-9BFC-AEBEA1AD067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49842"/>
              <a:ext cx="10334625" cy="6322075"/>
            </a:xfrm>
            <a:custGeom>
              <a:avLst/>
              <a:gdLst/>
              <a:ahLst/>
              <a:cxnLst/>
              <a:rect l="0" t="0" r="r" b="b"/>
              <a:pathLst>
                <a:path w="2171" h="1326">
                  <a:moveTo>
                    <a:pt x="1873" y="1326"/>
                  </a:moveTo>
                  <a:cubicBezTo>
                    <a:pt x="2171" y="1045"/>
                    <a:pt x="1825" y="678"/>
                    <a:pt x="1609" y="473"/>
                  </a:cubicBezTo>
                  <a:cubicBezTo>
                    <a:pt x="1406" y="281"/>
                    <a:pt x="1159" y="116"/>
                    <a:pt x="880" y="63"/>
                  </a:cubicBezTo>
                  <a:cubicBezTo>
                    <a:pt x="545" y="0"/>
                    <a:pt x="214" y="161"/>
                    <a:pt x="0" y="423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5" name="Freeform 9">
              <a:extLst>
                <a:ext uri="{FF2B5EF4-FFF2-40B4-BE49-F238E27FC236}">
                  <a16:creationId xmlns:a16="http://schemas.microsoft.com/office/drawing/2014/main" id="{765E127A-B6B7-4B1D-B7BD-6C8C969D29C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6186246"/>
              <a:ext cx="504825" cy="681527"/>
            </a:xfrm>
            <a:custGeom>
              <a:avLst/>
              <a:gdLst/>
              <a:ahLst/>
              <a:cxnLst/>
              <a:rect l="0" t="0" r="r" b="b"/>
              <a:pathLst>
                <a:path w="106" h="143">
                  <a:moveTo>
                    <a:pt x="0" y="0"/>
                  </a:moveTo>
                  <a:cubicBezTo>
                    <a:pt x="35" y="54"/>
                    <a:pt x="70" y="101"/>
                    <a:pt x="106" y="143"/>
                  </a:cubicBezTo>
                </a:path>
              </a:pathLst>
            </a:custGeom>
            <a:noFill/>
            <a:ln w="4763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6" name="Freeform 10">
              <a:extLst>
                <a:ext uri="{FF2B5EF4-FFF2-40B4-BE49-F238E27FC236}">
                  <a16:creationId xmlns:a16="http://schemas.microsoft.com/office/drawing/2014/main" id="{3BCA9D9E-C72C-4751-BFA9-10B85CACE3C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-51881"/>
              <a:ext cx="11091863" cy="6923796"/>
            </a:xfrm>
            <a:custGeom>
              <a:avLst/>
              <a:gdLst/>
              <a:ahLst/>
              <a:cxnLst/>
              <a:rect l="0" t="0" r="r" b="b"/>
              <a:pathLst>
                <a:path w="2330" h="1452">
                  <a:moveTo>
                    <a:pt x="2046" y="1452"/>
                  </a:moveTo>
                  <a:cubicBezTo>
                    <a:pt x="2330" y="1153"/>
                    <a:pt x="2049" y="821"/>
                    <a:pt x="1813" y="601"/>
                  </a:cubicBezTo>
                  <a:cubicBezTo>
                    <a:pt x="1569" y="375"/>
                    <a:pt x="1282" y="179"/>
                    <a:pt x="956" y="97"/>
                  </a:cubicBezTo>
                  <a:cubicBezTo>
                    <a:pt x="572" y="0"/>
                    <a:pt x="292" y="101"/>
                    <a:pt x="0" y="366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080C708C-69BF-441B-AB75-C98160ED06D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426601" y="5579"/>
              <a:ext cx="5788025" cy="6847184"/>
            </a:xfrm>
            <a:custGeom>
              <a:avLst/>
              <a:gdLst/>
              <a:ahLst/>
              <a:cxnLst/>
              <a:rect l="0" t="0" r="r" b="b"/>
              <a:pathLst>
                <a:path w="1216" h="1436">
                  <a:moveTo>
                    <a:pt x="1094" y="1436"/>
                  </a:moveTo>
                  <a:cubicBezTo>
                    <a:pt x="1216" y="1114"/>
                    <a:pt x="904" y="770"/>
                    <a:pt x="709" y="551"/>
                  </a:cubicBezTo>
                  <a:cubicBezTo>
                    <a:pt x="509" y="327"/>
                    <a:pt x="274" y="127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3E79964E-F8F1-4763-8892-7BC3DAE306E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1057275" cy="614491"/>
            </a:xfrm>
            <a:custGeom>
              <a:avLst/>
              <a:gdLst/>
              <a:ahLst/>
              <a:cxnLst/>
              <a:rect l="0" t="0" r="r" b="b"/>
              <a:pathLst>
                <a:path w="222" h="129">
                  <a:moveTo>
                    <a:pt x="222" y="0"/>
                  </a:moveTo>
                  <a:cubicBezTo>
                    <a:pt x="152" y="35"/>
                    <a:pt x="76" y="78"/>
                    <a:pt x="0" y="129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FE09592A-FCC9-4AE5-BA0B-730C6F3BBE9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5821889" y="5579"/>
              <a:ext cx="5588000" cy="6866337"/>
            </a:xfrm>
            <a:custGeom>
              <a:avLst/>
              <a:gdLst/>
              <a:ahLst/>
              <a:cxnLst/>
              <a:rect l="0" t="0" r="r" b="b"/>
              <a:pathLst>
                <a:path w="1174" h="1440">
                  <a:moveTo>
                    <a:pt x="1067" y="1440"/>
                  </a:moveTo>
                  <a:cubicBezTo>
                    <a:pt x="1174" y="1124"/>
                    <a:pt x="887" y="797"/>
                    <a:pt x="698" y="577"/>
                  </a:cubicBezTo>
                  <a:cubicBezTo>
                    <a:pt x="500" y="348"/>
                    <a:pt x="270" y="141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96448994-820C-4BC1-ABF3-4579C6F99A6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3701" y="790"/>
              <a:ext cx="595313" cy="352734"/>
            </a:xfrm>
            <a:custGeom>
              <a:avLst/>
              <a:gdLst/>
              <a:ahLst/>
              <a:cxnLst/>
              <a:rect l="0" t="0" r="r" b="b"/>
              <a:pathLst>
                <a:path w="125" h="74">
                  <a:moveTo>
                    <a:pt x="125" y="0"/>
                  </a:moveTo>
                  <a:cubicBezTo>
                    <a:pt x="85" y="22"/>
                    <a:pt x="43" y="47"/>
                    <a:pt x="0" y="74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1" name="Freeform 15">
              <a:extLst>
                <a:ext uri="{FF2B5EF4-FFF2-40B4-BE49-F238E27FC236}">
                  <a16:creationId xmlns:a16="http://schemas.microsoft.com/office/drawing/2014/main" id="{9BB0D192-565A-42B9-B292-CC032D71A6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012389" y="5579"/>
              <a:ext cx="5497513" cy="6866337"/>
            </a:xfrm>
            <a:custGeom>
              <a:avLst/>
              <a:gdLst/>
              <a:ahLst/>
              <a:cxnLst/>
              <a:rect l="0" t="0" r="r" b="b"/>
              <a:pathLst>
                <a:path w="1155" h="1440">
                  <a:moveTo>
                    <a:pt x="1056" y="1440"/>
                  </a:moveTo>
                  <a:cubicBezTo>
                    <a:pt x="1155" y="1123"/>
                    <a:pt x="875" y="801"/>
                    <a:pt x="686" y="580"/>
                  </a:cubicBezTo>
                  <a:cubicBezTo>
                    <a:pt x="491" y="352"/>
                    <a:pt x="264" y="145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35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2" name="Freeform 16">
              <a:extLst>
                <a:ext uri="{FF2B5EF4-FFF2-40B4-BE49-F238E27FC236}">
                  <a16:creationId xmlns:a16="http://schemas.microsoft.com/office/drawing/2014/main" id="{6D1CA09C-5F40-4E92-A7E9-D1FCEE51283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-1061" y="5579"/>
              <a:ext cx="357188" cy="213875"/>
            </a:xfrm>
            <a:custGeom>
              <a:avLst/>
              <a:gdLst/>
              <a:ahLst/>
              <a:cxnLst/>
              <a:rect l="0" t="0" r="r" b="b"/>
              <a:pathLst>
                <a:path w="75" h="45">
                  <a:moveTo>
                    <a:pt x="75" y="0"/>
                  </a:moveTo>
                  <a:cubicBezTo>
                    <a:pt x="50" y="14"/>
                    <a:pt x="25" y="29"/>
                    <a:pt x="0" y="45"/>
                  </a:cubicBezTo>
                </a:path>
              </a:pathLst>
            </a:custGeom>
            <a:noFill/>
            <a:ln w="12700" cap="flat">
              <a:solidFill>
                <a:schemeClr val="tx1">
                  <a:alpha val="35000"/>
                </a:schemeClr>
              </a:solidFill>
              <a:prstDash val="dash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3" name="Freeform 17">
              <a:extLst>
                <a:ext uri="{FF2B5EF4-FFF2-40B4-BE49-F238E27FC236}">
                  <a16:creationId xmlns:a16="http://schemas.microsoft.com/office/drawing/2014/main" id="{379F5AA5-2E14-4880-A5A6-07AEF2AD89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210826" y="790"/>
              <a:ext cx="5522913" cy="6871126"/>
            </a:xfrm>
            <a:custGeom>
              <a:avLst/>
              <a:gdLst/>
              <a:ahLst/>
              <a:cxnLst/>
              <a:rect l="0" t="0" r="r" b="b"/>
              <a:pathLst>
                <a:path w="1160" h="1441">
                  <a:moveTo>
                    <a:pt x="1053" y="1441"/>
                  </a:moveTo>
                  <a:cubicBezTo>
                    <a:pt x="1160" y="1129"/>
                    <a:pt x="892" y="817"/>
                    <a:pt x="705" y="599"/>
                  </a:cubicBezTo>
                  <a:cubicBezTo>
                    <a:pt x="503" y="365"/>
                    <a:pt x="270" y="152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EF14BD32-D239-4DA3-98B3-7752073657C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463239" y="5579"/>
              <a:ext cx="5413375" cy="6866337"/>
            </a:xfrm>
            <a:custGeom>
              <a:avLst/>
              <a:gdLst/>
              <a:ahLst/>
              <a:cxnLst/>
              <a:rect l="0" t="0" r="r" b="b"/>
              <a:pathLst>
                <a:path w="1137" h="1440">
                  <a:moveTo>
                    <a:pt x="1040" y="1440"/>
                  </a:moveTo>
                  <a:cubicBezTo>
                    <a:pt x="1137" y="1131"/>
                    <a:pt x="883" y="828"/>
                    <a:pt x="698" y="611"/>
                  </a:cubicBezTo>
                  <a:cubicBezTo>
                    <a:pt x="498" y="375"/>
                    <a:pt x="268" y="159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5" name="Freeform 19">
              <a:extLst>
                <a:ext uri="{FF2B5EF4-FFF2-40B4-BE49-F238E27FC236}">
                  <a16:creationId xmlns:a16="http://schemas.microsoft.com/office/drawing/2014/main" id="{CF07B250-E5E4-4624-9BD7-8D513A67B73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6877576" y="5579"/>
              <a:ext cx="5037138" cy="6861550"/>
            </a:xfrm>
            <a:custGeom>
              <a:avLst/>
              <a:gdLst/>
              <a:ahLst/>
              <a:cxnLst/>
              <a:rect l="0" t="0" r="r" b="b"/>
              <a:pathLst>
                <a:path w="1058" h="1439">
                  <a:moveTo>
                    <a:pt x="1011" y="1439"/>
                  </a:moveTo>
                  <a:cubicBezTo>
                    <a:pt x="1058" y="1131"/>
                    <a:pt x="825" y="841"/>
                    <a:pt x="648" y="617"/>
                  </a:cubicBezTo>
                  <a:cubicBezTo>
                    <a:pt x="462" y="383"/>
                    <a:pt x="248" y="16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BCC5D120-7C8C-4290-865C-4EE6E4F245F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8768289" y="5579"/>
              <a:ext cx="3417888" cy="2742066"/>
            </a:xfrm>
            <a:custGeom>
              <a:avLst/>
              <a:gdLst/>
              <a:ahLst/>
              <a:cxnLst/>
              <a:rect l="0" t="0" r="r" b="b"/>
              <a:pathLst>
                <a:path w="718" h="575">
                  <a:moveTo>
                    <a:pt x="718" y="575"/>
                  </a:moveTo>
                  <a:cubicBezTo>
                    <a:pt x="500" y="360"/>
                    <a:pt x="260" y="163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C24688C6-CAE5-4EF2-B2BA-A138DA0A24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9235014" y="10367"/>
              <a:ext cx="2951163" cy="2555325"/>
            </a:xfrm>
            <a:custGeom>
              <a:avLst/>
              <a:gdLst/>
              <a:ahLst/>
              <a:cxnLst/>
              <a:rect l="0" t="0" r="r" b="b"/>
              <a:pathLst>
                <a:path w="620" h="536">
                  <a:moveTo>
                    <a:pt x="620" y="536"/>
                  </a:moveTo>
                  <a:cubicBezTo>
                    <a:pt x="404" y="314"/>
                    <a:pt x="196" y="138"/>
                    <a:pt x="0" y="0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8" name="Freeform 22">
              <a:extLst>
                <a:ext uri="{FF2B5EF4-FFF2-40B4-BE49-F238E27FC236}">
                  <a16:creationId xmlns:a16="http://schemas.microsoft.com/office/drawing/2014/main" id="{6BD31099-7C13-4901-A04F-632B1CD8462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0020826" y="5579"/>
              <a:ext cx="2165350" cy="1358265"/>
            </a:xfrm>
            <a:custGeom>
              <a:avLst/>
              <a:gdLst/>
              <a:ahLst/>
              <a:cxnLst/>
              <a:rect l="0" t="0" r="r" b="b"/>
              <a:pathLst>
                <a:path w="455" h="285">
                  <a:moveTo>
                    <a:pt x="0" y="0"/>
                  </a:moveTo>
                  <a:cubicBezTo>
                    <a:pt x="153" y="85"/>
                    <a:pt x="308" y="180"/>
                    <a:pt x="455" y="285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679F5FF7-82B2-4033-8FBE-63170C93783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1290826" y="5579"/>
              <a:ext cx="895350" cy="534687"/>
            </a:xfrm>
            <a:custGeom>
              <a:avLst/>
              <a:gdLst/>
              <a:ahLst/>
              <a:cxnLst/>
              <a:rect l="0" t="0" r="r" b="b"/>
              <a:pathLst>
                <a:path w="188" h="112">
                  <a:moveTo>
                    <a:pt x="0" y="0"/>
                  </a:moveTo>
                  <a:cubicBezTo>
                    <a:pt x="63" y="36"/>
                    <a:pt x="126" y="73"/>
                    <a:pt x="188" y="112"/>
                  </a:cubicBezTo>
                </a:path>
              </a:pathLst>
            </a:custGeom>
            <a:noFill/>
            <a:ln w="9525" cap="flat">
              <a:solidFill>
                <a:schemeClr val="tx1">
                  <a:alpha val="3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1FB9F11C-BFB9-4E76-961F-C2ABB9491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8630" y="4563895"/>
            <a:ext cx="9859271" cy="177782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r"/>
            <a:r>
              <a:rPr lang="en-US" sz="4000" kern="1200" dirty="0">
                <a:latin typeface="+mj-lt"/>
                <a:ea typeface="+mj-ea"/>
                <a:cs typeface="+mj-cs"/>
              </a:rPr>
              <a:t>From 100 samples/year to 100 samples/Week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2C4C922-2C1A-4A86-B974-27294B1D10B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237" r="7429" b="-2"/>
          <a:stretch/>
        </p:blipFill>
        <p:spPr>
          <a:xfrm>
            <a:off x="20" y="10"/>
            <a:ext cx="5997616" cy="4306823"/>
          </a:xfrm>
          <a:custGeom>
            <a:avLst/>
            <a:gdLst/>
            <a:ahLst/>
            <a:cxnLst/>
            <a:rect l="l" t="t" r="r" b="b"/>
            <a:pathLst>
              <a:path w="5997636" h="4306833">
                <a:moveTo>
                  <a:pt x="0" y="0"/>
                </a:moveTo>
                <a:lnTo>
                  <a:pt x="5997636" y="0"/>
                </a:lnTo>
                <a:lnTo>
                  <a:pt x="5997636" y="4302053"/>
                </a:lnTo>
                <a:lnTo>
                  <a:pt x="5313331" y="4306748"/>
                </a:lnTo>
                <a:cubicBezTo>
                  <a:pt x="3800480" y="4309129"/>
                  <a:pt x="2093145" y="4262282"/>
                  <a:pt x="400746" y="4118385"/>
                </a:cubicBezTo>
                <a:lnTo>
                  <a:pt x="0" y="4081409"/>
                </a:lnTo>
                <a:lnTo>
                  <a:pt x="0" y="2982070"/>
                </a:lnTo>
                <a:lnTo>
                  <a:pt x="0" y="2789945"/>
                </a:lnTo>
                <a:close/>
              </a:path>
            </a:pathLst>
          </a:custGeom>
        </p:spPr>
      </p:pic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232D8613-9035-45C9-9321-85CDC07CCCE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6895" r="1" b="1"/>
          <a:stretch/>
        </p:blipFill>
        <p:spPr>
          <a:xfrm>
            <a:off x="6176435" y="10"/>
            <a:ext cx="6015565" cy="4299555"/>
          </a:xfrm>
          <a:custGeom>
            <a:avLst/>
            <a:gdLst/>
            <a:ahLst/>
            <a:cxnLst/>
            <a:rect l="l" t="t" r="r" b="b"/>
            <a:pathLst>
              <a:path w="6015565" h="4299565">
                <a:moveTo>
                  <a:pt x="0" y="0"/>
                </a:moveTo>
                <a:lnTo>
                  <a:pt x="6015565" y="0"/>
                </a:lnTo>
                <a:lnTo>
                  <a:pt x="6015565" y="2789945"/>
                </a:lnTo>
                <a:lnTo>
                  <a:pt x="6015565" y="2982070"/>
                </a:lnTo>
                <a:lnTo>
                  <a:pt x="6015565" y="3957888"/>
                </a:lnTo>
                <a:lnTo>
                  <a:pt x="5937368" y="3966171"/>
                </a:lnTo>
                <a:cubicBezTo>
                  <a:pt x="3963073" y="4164120"/>
                  <a:pt x="2060717" y="4257123"/>
                  <a:pt x="577162" y="4289728"/>
                </a:cubicBezTo>
                <a:lnTo>
                  <a:pt x="0" y="429956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9808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ContentSeparatorDefaul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YMBOLNAME" val="Chevron"/>
  <p:tag name="CIRCLESTATUS" val="Blue"/>
  <p:tag name="NAME" val="ChevronBlue"/>
</p:tagLst>
</file>

<file path=ppt/theme/theme1.xml><?xml version="1.0" encoding="utf-8"?>
<a:theme xmlns:a="http://schemas.openxmlformats.org/drawingml/2006/main" name="29_Ripple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Ripple 1">
        <a:dk1>
          <a:srgbClr val="2B2B85"/>
        </a:dk1>
        <a:lt1>
          <a:srgbClr val="FFFFFF"/>
        </a:lt1>
        <a:dk2>
          <a:srgbClr val="00254A"/>
        </a:dk2>
        <a:lt2>
          <a:srgbClr val="C0C0C0"/>
        </a:lt2>
        <a:accent1>
          <a:srgbClr val="0099FF"/>
        </a:accent1>
        <a:accent2>
          <a:srgbClr val="006699"/>
        </a:accent2>
        <a:accent3>
          <a:srgbClr val="AAACB1"/>
        </a:accent3>
        <a:accent4>
          <a:srgbClr val="DADADA"/>
        </a:accent4>
        <a:accent5>
          <a:srgbClr val="AACAFF"/>
        </a:accent5>
        <a:accent6>
          <a:srgbClr val="005C8A"/>
        </a:accent6>
        <a:hlink>
          <a:srgbClr val="99CCFF"/>
        </a:hlink>
        <a:folHlink>
          <a:srgbClr val="8F8FB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2">
        <a:dk1>
          <a:srgbClr val="3B4B5D"/>
        </a:dk1>
        <a:lt1>
          <a:srgbClr val="FFFFFF"/>
        </a:lt1>
        <a:dk2>
          <a:srgbClr val="466886"/>
        </a:dk2>
        <a:lt2>
          <a:srgbClr val="CCECFF"/>
        </a:lt2>
        <a:accent1>
          <a:srgbClr val="6D9D97"/>
        </a:accent1>
        <a:accent2>
          <a:srgbClr val="53718C"/>
        </a:accent2>
        <a:accent3>
          <a:srgbClr val="B0B9C3"/>
        </a:accent3>
        <a:accent4>
          <a:srgbClr val="DADADA"/>
        </a:accent4>
        <a:accent5>
          <a:srgbClr val="BACCC9"/>
        </a:accent5>
        <a:accent6>
          <a:srgbClr val="4A667E"/>
        </a:accent6>
        <a:hlink>
          <a:srgbClr val="99CCFF"/>
        </a:hlink>
        <a:folHlink>
          <a:srgbClr val="A97CF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3">
        <a:dk1>
          <a:srgbClr val="008AE8"/>
        </a:dk1>
        <a:lt1>
          <a:srgbClr val="FFFFFF"/>
        </a:lt1>
        <a:dk2>
          <a:srgbClr val="0068AE"/>
        </a:dk2>
        <a:lt2>
          <a:srgbClr val="CCECFF"/>
        </a:lt2>
        <a:accent1>
          <a:srgbClr val="009999"/>
        </a:accent1>
        <a:accent2>
          <a:srgbClr val="0088E4"/>
        </a:accent2>
        <a:accent3>
          <a:srgbClr val="AAB9D3"/>
        </a:accent3>
        <a:accent4>
          <a:srgbClr val="DADADA"/>
        </a:accent4>
        <a:accent5>
          <a:srgbClr val="AACACA"/>
        </a:accent5>
        <a:accent6>
          <a:srgbClr val="007BCF"/>
        </a:accent6>
        <a:hlink>
          <a:srgbClr val="99FF99"/>
        </a:hlink>
        <a:folHlink>
          <a:srgbClr val="AFE1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4">
        <a:dk1>
          <a:srgbClr val="9B69FF"/>
        </a:dk1>
        <a:lt1>
          <a:srgbClr val="FFFFFF"/>
        </a:lt1>
        <a:dk2>
          <a:srgbClr val="666699"/>
        </a:dk2>
        <a:lt2>
          <a:srgbClr val="D9D9FF"/>
        </a:lt2>
        <a:accent1>
          <a:srgbClr val="66CCFF"/>
        </a:accent1>
        <a:accent2>
          <a:srgbClr val="9966FF"/>
        </a:accent2>
        <a:accent3>
          <a:srgbClr val="B8B8CA"/>
        </a:accent3>
        <a:accent4>
          <a:srgbClr val="DADADA"/>
        </a:accent4>
        <a:accent5>
          <a:srgbClr val="B8E2FF"/>
        </a:accent5>
        <a:accent6>
          <a:srgbClr val="8A5CE7"/>
        </a:accent6>
        <a:hlink>
          <a:srgbClr val="0099CC"/>
        </a:hlink>
        <a:folHlink>
          <a:srgbClr val="0033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5">
        <a:dk1>
          <a:srgbClr val="008080"/>
        </a:dk1>
        <a:lt1>
          <a:srgbClr val="FFFFFF"/>
        </a:lt1>
        <a:dk2>
          <a:srgbClr val="006666"/>
        </a:dk2>
        <a:lt2>
          <a:srgbClr val="FFFFCC"/>
        </a:lt2>
        <a:accent1>
          <a:srgbClr val="0099FF"/>
        </a:accent1>
        <a:accent2>
          <a:srgbClr val="008080"/>
        </a:accent2>
        <a:accent3>
          <a:srgbClr val="AAB8B8"/>
        </a:accent3>
        <a:accent4>
          <a:srgbClr val="DADADA"/>
        </a:accent4>
        <a:accent5>
          <a:srgbClr val="AACAFF"/>
        </a:accent5>
        <a:accent6>
          <a:srgbClr val="007373"/>
        </a:accent6>
        <a:hlink>
          <a:srgbClr val="1ACE9F"/>
        </a:hlink>
        <a:folHlink>
          <a:srgbClr val="A5B5C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6">
        <a:dk1>
          <a:srgbClr val="CDD9D1"/>
        </a:dk1>
        <a:lt1>
          <a:srgbClr val="FFFFFF"/>
        </a:lt1>
        <a:dk2>
          <a:srgbClr val="A3BBA9"/>
        </a:dk2>
        <a:lt2>
          <a:srgbClr val="007D80"/>
        </a:lt2>
        <a:accent1>
          <a:srgbClr val="9CA8A4"/>
        </a:accent1>
        <a:accent2>
          <a:srgbClr val="CBD7CE"/>
        </a:accent2>
        <a:accent3>
          <a:srgbClr val="CEDAD1"/>
        </a:accent3>
        <a:accent4>
          <a:srgbClr val="DADADA"/>
        </a:accent4>
        <a:accent5>
          <a:srgbClr val="CBD1CF"/>
        </a:accent5>
        <a:accent6>
          <a:srgbClr val="B8C3BA"/>
        </a:accent6>
        <a:hlink>
          <a:srgbClr val="009900"/>
        </a:hlink>
        <a:folHlink>
          <a:srgbClr val="0099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7">
        <a:dk1>
          <a:srgbClr val="686B5D"/>
        </a:dk1>
        <a:lt1>
          <a:srgbClr val="DCDAD0"/>
        </a:lt1>
        <a:dk2>
          <a:srgbClr val="525040"/>
        </a:dk2>
        <a:lt2>
          <a:srgbClr val="D3D2A6"/>
        </a:lt2>
        <a:accent1>
          <a:srgbClr val="5D8770"/>
        </a:accent1>
        <a:accent2>
          <a:srgbClr val="686B5D"/>
        </a:accent2>
        <a:accent3>
          <a:srgbClr val="B3B3AF"/>
        </a:accent3>
        <a:accent4>
          <a:srgbClr val="BCBAB1"/>
        </a:accent4>
        <a:accent5>
          <a:srgbClr val="B6C3BB"/>
        </a:accent5>
        <a:accent6>
          <a:srgbClr val="5E6053"/>
        </a:accent6>
        <a:hlink>
          <a:srgbClr val="85B7A9"/>
        </a:hlink>
        <a:folHlink>
          <a:srgbClr val="B8936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Ripple 8">
        <a:dk1>
          <a:srgbClr val="000000"/>
        </a:dk1>
        <a:lt1>
          <a:srgbClr val="EAEAEA"/>
        </a:lt1>
        <a:dk2>
          <a:srgbClr val="000000"/>
        </a:dk2>
        <a:lt2>
          <a:srgbClr val="B2B2B2"/>
        </a:lt2>
        <a:accent1>
          <a:srgbClr val="A4BCC4"/>
        </a:accent1>
        <a:accent2>
          <a:srgbClr val="FFFFFF"/>
        </a:accent2>
        <a:accent3>
          <a:srgbClr val="F3F3F3"/>
        </a:accent3>
        <a:accent4>
          <a:srgbClr val="000000"/>
        </a:accent4>
        <a:accent5>
          <a:srgbClr val="CFDADE"/>
        </a:accent5>
        <a:accent6>
          <a:srgbClr val="E7E7E7"/>
        </a:accent6>
        <a:hlink>
          <a:srgbClr val="0066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ipple 9">
        <a:dk1>
          <a:srgbClr val="000000"/>
        </a:dk1>
        <a:lt1>
          <a:srgbClr val="D7D1B9"/>
        </a:lt1>
        <a:dk2>
          <a:srgbClr val="B39257"/>
        </a:dk2>
        <a:lt2>
          <a:srgbClr val="B1A887"/>
        </a:lt2>
        <a:accent1>
          <a:srgbClr val="FFCC66"/>
        </a:accent1>
        <a:accent2>
          <a:srgbClr val="E6E3AC"/>
        </a:accent2>
        <a:accent3>
          <a:srgbClr val="E8E5D9"/>
        </a:accent3>
        <a:accent4>
          <a:srgbClr val="000000"/>
        </a:accent4>
        <a:accent5>
          <a:srgbClr val="FFE2B8"/>
        </a:accent5>
        <a:accent6>
          <a:srgbClr val="D0CE9B"/>
        </a:accent6>
        <a:hlink>
          <a:srgbClr val="666633"/>
        </a:hlink>
        <a:folHlink>
          <a:srgbClr val="9C98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</TotalTime>
  <Words>736</Words>
  <Application>Microsoft Office PowerPoint</Application>
  <PresentationFormat>Widescreen</PresentationFormat>
  <Paragraphs>129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4" baseType="lpstr">
      <vt:lpstr>Arial</vt:lpstr>
      <vt:lpstr>Calibri</vt:lpstr>
      <vt:lpstr>Calibri Light</vt:lpstr>
      <vt:lpstr>Georgia</vt:lpstr>
      <vt:lpstr>Segoe UI</vt:lpstr>
      <vt:lpstr>Wingdings</vt:lpstr>
      <vt:lpstr>29_Ripple</vt:lpstr>
      <vt:lpstr>Office Theme</vt:lpstr>
      <vt:lpstr>1_Office Theme</vt:lpstr>
      <vt:lpstr>think-cell Slide</vt:lpstr>
      <vt:lpstr>Introduction to Sewage Epidemiology</vt:lpstr>
      <vt:lpstr> Sewage Surveillance</vt:lpstr>
      <vt:lpstr> SARS- CoV-2 Studies Underway</vt:lpstr>
      <vt:lpstr>Coronaviruses</vt:lpstr>
      <vt:lpstr>Advantages of Wastewater Epidemiology</vt:lpstr>
      <vt:lpstr>PowerPoint Presentation</vt:lpstr>
      <vt:lpstr>PowerPoint Presentation</vt:lpstr>
      <vt:lpstr>Collecting Wastewater  from Dorms</vt:lpstr>
      <vt:lpstr>From 100 samples/year to 100 samples/Week</vt:lpstr>
      <vt:lpstr>Wastewater-Based Epidemiology at the University of Arizona WEST Center The Likins Dorm Case Study - Timeline</vt:lpstr>
      <vt:lpstr>Effectiveness of the COVID-19 Containment Strategy  at the University of Arizona</vt:lpstr>
      <vt:lpstr>SARS-CoV-2 Virus - Update</vt:lpstr>
      <vt:lpstr>What have we learned – sewage monitoring for SARS-CoV-2 at the University of Arizona and Tucson</vt:lpstr>
      <vt:lpstr>What is need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wage Epidemiology</dc:title>
  <dc:creator>Gerba, Charles P - (gerba)</dc:creator>
  <cp:lastModifiedBy>Gerba, Charles P - (gerba)</cp:lastModifiedBy>
  <cp:revision>7</cp:revision>
  <dcterms:created xsi:type="dcterms:W3CDTF">2020-12-10T14:27:27Z</dcterms:created>
  <dcterms:modified xsi:type="dcterms:W3CDTF">2021-01-31T17:32:24Z</dcterms:modified>
</cp:coreProperties>
</file>